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71" r:id="rId2"/>
    <p:sldMasterId id="2147483700" r:id="rId3"/>
  </p:sldMasterIdLst>
  <p:notesMasterIdLst>
    <p:notesMasterId r:id="rId12"/>
  </p:notesMasterIdLst>
  <p:sldIdLst>
    <p:sldId id="285" r:id="rId4"/>
    <p:sldId id="4433" r:id="rId5"/>
    <p:sldId id="4438" r:id="rId6"/>
    <p:sldId id="4434" r:id="rId7"/>
    <p:sldId id="4435" r:id="rId8"/>
    <p:sldId id="4436" r:id="rId9"/>
    <p:sldId id="4437" r:id="rId10"/>
    <p:sldId id="4432" r:id="rId11"/>
  </p:sldIdLst>
  <p:sldSz cx="12192000" cy="6858000"/>
  <p:notesSz cx="6858000" cy="9144000"/>
  <p:defaultTextStyle>
    <a:defPPr>
      <a:defRPr lang="en-US"/>
    </a:defPPr>
    <a:lvl1pPr marL="0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89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377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566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754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943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131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320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509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67" userDrawn="1">
          <p15:clr>
            <a:srgbClr val="A4A3A4"/>
          </p15:clr>
        </p15:guide>
        <p15:guide id="2" pos="529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E6D6D"/>
    <a:srgbClr val="FFFFFF"/>
    <a:srgbClr val="F7F7F7"/>
    <a:srgbClr val="1C91C0"/>
    <a:srgbClr val="7AD949"/>
    <a:srgbClr val="2E9AB1"/>
    <a:srgbClr val="54B87C"/>
    <a:srgbClr val="2090C0"/>
    <a:srgbClr val="3D6FD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F4C6452-D452-9E0A-7AC2-541705338029}" v="6" dt="2024-09-08T16:33:00.20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78" d="100"/>
          <a:sy n="78" d="100"/>
        </p:scale>
        <p:origin x="850" y="77"/>
      </p:cViewPr>
      <p:guideLst>
        <p:guide orient="horz" pos="867"/>
        <p:guide pos="529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presProps" Target="presProps.xml"/><Relationship Id="rId18" Type="http://schemas.microsoft.com/office/2015/10/relationships/revisionInfo" Target="revisionInfo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notesMaster" Target="notesMasters/notesMaster1.xml"/><Relationship Id="rId17" Type="http://schemas.microsoft.com/office/2016/11/relationships/changesInfo" Target="changesInfos/changesInfo1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theme" Target="theme/theme1.xml"/><Relationship Id="rId10" Type="http://schemas.openxmlformats.org/officeDocument/2006/relationships/slide" Target="slides/slide7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ohit Kumar Subudhi" userId="S::rohitkumar.s@bourntec.com::629b46ab-2c5c-47b2-9117-d775c7192440" providerId="AD" clId="Web-{98703895-FACB-6AB7-B208-28B64F25EE6F}"/>
    <pc:docChg chg="modSld">
      <pc:chgData name="Rohit Kumar Subudhi" userId="S::rohitkumar.s@bourntec.com::629b46ab-2c5c-47b2-9117-d775c7192440" providerId="AD" clId="Web-{98703895-FACB-6AB7-B208-28B64F25EE6F}" dt="2024-09-06T10:49:23.019" v="4" actId="20577"/>
      <pc:docMkLst>
        <pc:docMk/>
      </pc:docMkLst>
      <pc:sldChg chg="modSp">
        <pc:chgData name="Rohit Kumar Subudhi" userId="S::rohitkumar.s@bourntec.com::629b46ab-2c5c-47b2-9117-d775c7192440" providerId="AD" clId="Web-{98703895-FACB-6AB7-B208-28B64F25EE6F}" dt="2024-09-06T10:49:23.019" v="4" actId="20577"/>
        <pc:sldMkLst>
          <pc:docMk/>
          <pc:sldMk cId="1173212447" sldId="4436"/>
        </pc:sldMkLst>
        <pc:spChg chg="mod">
          <ac:chgData name="Rohit Kumar Subudhi" userId="S::rohitkumar.s@bourntec.com::629b46ab-2c5c-47b2-9117-d775c7192440" providerId="AD" clId="Web-{98703895-FACB-6AB7-B208-28B64F25EE6F}" dt="2024-09-06T10:49:23.019" v="4" actId="20577"/>
          <ac:spMkLst>
            <pc:docMk/>
            <pc:sldMk cId="1173212447" sldId="4436"/>
            <ac:spMk id="2" creationId="{FD34F76E-4449-43CF-B0D7-512B958C1B1A}"/>
          </ac:spMkLst>
        </pc:spChg>
      </pc:sldChg>
    </pc:docChg>
  </pc:docChgLst>
  <pc:docChgLst>
    <pc:chgData name="Rohit Kumar Subudhi" userId="S::rohitkumar.s@bourntec.com::629b46ab-2c5c-47b2-9117-d775c7192440" providerId="AD" clId="Web-{4040107B-A525-5336-0341-6ADC38C06CC5}"/>
    <pc:docChg chg="modSld">
      <pc:chgData name="Rohit Kumar Subudhi" userId="S::rohitkumar.s@bourntec.com::629b46ab-2c5c-47b2-9117-d775c7192440" providerId="AD" clId="Web-{4040107B-A525-5336-0341-6ADC38C06CC5}" dt="2024-09-05T08:08:13.394" v="1" actId="1076"/>
      <pc:docMkLst>
        <pc:docMk/>
      </pc:docMkLst>
      <pc:sldChg chg="modSp">
        <pc:chgData name="Rohit Kumar Subudhi" userId="S::rohitkumar.s@bourntec.com::629b46ab-2c5c-47b2-9117-d775c7192440" providerId="AD" clId="Web-{4040107B-A525-5336-0341-6ADC38C06CC5}" dt="2024-09-05T08:08:13.394" v="1" actId="1076"/>
        <pc:sldMkLst>
          <pc:docMk/>
          <pc:sldMk cId="3519607285" sldId="4435"/>
        </pc:sldMkLst>
        <pc:picChg chg="mod">
          <ac:chgData name="Rohit Kumar Subudhi" userId="S::rohitkumar.s@bourntec.com::629b46ab-2c5c-47b2-9117-d775c7192440" providerId="AD" clId="Web-{4040107B-A525-5336-0341-6ADC38C06CC5}" dt="2024-09-05T08:08:13.394" v="1" actId="1076"/>
          <ac:picMkLst>
            <pc:docMk/>
            <pc:sldMk cId="3519607285" sldId="4435"/>
            <ac:picMk id="4" creationId="{A77CC732-0361-4363-B667-F96A03CE0F2F}"/>
          </ac:picMkLst>
        </pc:picChg>
      </pc:sldChg>
    </pc:docChg>
  </pc:docChgLst>
  <pc:docChgLst>
    <pc:chgData name="Mrutyunjay Parhi" userId="S::mrutyunjay.p@bourntec.com::e35aaae4-dd23-4830-8517-be9b9b838cd9" providerId="AD" clId="Web-{71F0DBC9-DFF9-CF54-76B9-664950CA72BC}"/>
    <pc:docChg chg="modSld">
      <pc:chgData name="Mrutyunjay Parhi" userId="S::mrutyunjay.p@bourntec.com::e35aaae4-dd23-4830-8517-be9b9b838cd9" providerId="AD" clId="Web-{71F0DBC9-DFF9-CF54-76B9-664950CA72BC}" dt="2024-09-05T03:31:35.575" v="0" actId="1076"/>
      <pc:docMkLst>
        <pc:docMk/>
      </pc:docMkLst>
      <pc:sldChg chg="modSp">
        <pc:chgData name="Mrutyunjay Parhi" userId="S::mrutyunjay.p@bourntec.com::e35aaae4-dd23-4830-8517-be9b9b838cd9" providerId="AD" clId="Web-{71F0DBC9-DFF9-CF54-76B9-664950CA72BC}" dt="2024-09-05T03:31:35.575" v="0" actId="1076"/>
        <pc:sldMkLst>
          <pc:docMk/>
          <pc:sldMk cId="4188000082" sldId="4434"/>
        </pc:sldMkLst>
        <pc:picChg chg="mod">
          <ac:chgData name="Mrutyunjay Parhi" userId="S::mrutyunjay.p@bourntec.com::e35aaae4-dd23-4830-8517-be9b9b838cd9" providerId="AD" clId="Web-{71F0DBC9-DFF9-CF54-76B9-664950CA72BC}" dt="2024-09-05T03:31:35.575" v="0" actId="1076"/>
          <ac:picMkLst>
            <pc:docMk/>
            <pc:sldMk cId="4188000082" sldId="4434"/>
            <ac:picMk id="3" creationId="{1E9A54D3-2B42-413D-8B8B-BF1C28DEA7BF}"/>
          </ac:picMkLst>
        </pc:picChg>
      </pc:sldChg>
    </pc:docChg>
  </pc:docChgLst>
  <pc:docChgLst>
    <pc:chgData name="Mir Jahangir Alli" userId="S::mirjahangir.a@bourntec.com::9ad403d9-f565-428d-85a2-5e82c667abb1" providerId="AD" clId="Web-{B15B5E12-B5B8-F85C-5066-94BA2E5A94F7}"/>
    <pc:docChg chg="modSld">
      <pc:chgData name="Mir Jahangir Alli" userId="S::mirjahangir.a@bourntec.com::9ad403d9-f565-428d-85a2-5e82c667abb1" providerId="AD" clId="Web-{B15B5E12-B5B8-F85C-5066-94BA2E5A94F7}" dt="2024-09-04T16:48:35.549" v="0" actId="14100"/>
      <pc:docMkLst>
        <pc:docMk/>
      </pc:docMkLst>
      <pc:sldChg chg="modSp">
        <pc:chgData name="Mir Jahangir Alli" userId="S::mirjahangir.a@bourntec.com::9ad403d9-f565-428d-85a2-5e82c667abb1" providerId="AD" clId="Web-{B15B5E12-B5B8-F85C-5066-94BA2E5A94F7}" dt="2024-09-04T16:48:35.549" v="0" actId="14100"/>
        <pc:sldMkLst>
          <pc:docMk/>
          <pc:sldMk cId="491972895" sldId="4433"/>
        </pc:sldMkLst>
        <pc:spChg chg="mod">
          <ac:chgData name="Mir Jahangir Alli" userId="S::mirjahangir.a@bourntec.com::9ad403d9-f565-428d-85a2-5e82c667abb1" providerId="AD" clId="Web-{B15B5E12-B5B8-F85C-5066-94BA2E5A94F7}" dt="2024-09-04T16:48:35.549" v="0" actId="14100"/>
          <ac:spMkLst>
            <pc:docMk/>
            <pc:sldMk cId="491972895" sldId="4433"/>
            <ac:spMk id="2" creationId="{FD34F76E-4449-43CF-B0D7-512B958C1B1A}"/>
          </ac:spMkLst>
        </pc:spChg>
      </pc:sldChg>
    </pc:docChg>
  </pc:docChgLst>
  <pc:docChgLst>
    <pc:chgData name="Mrutyunjay Parhi" userId="S::mrutyunjay.p@bourntec.com::e35aaae4-dd23-4830-8517-be9b9b838cd9" providerId="AD" clId="Web-{B67ABA18-3EEE-EC83-80D1-50A9E284A5B6}"/>
    <pc:docChg chg="modSld">
      <pc:chgData name="Mrutyunjay Parhi" userId="S::mrutyunjay.p@bourntec.com::e35aaae4-dd23-4830-8517-be9b9b838cd9" providerId="AD" clId="Web-{B67ABA18-3EEE-EC83-80D1-50A9E284A5B6}" dt="2024-09-05T03:16:25.656" v="0" actId="1076"/>
      <pc:docMkLst>
        <pc:docMk/>
      </pc:docMkLst>
      <pc:sldChg chg="modSp">
        <pc:chgData name="Mrutyunjay Parhi" userId="S::mrutyunjay.p@bourntec.com::e35aaae4-dd23-4830-8517-be9b9b838cd9" providerId="AD" clId="Web-{B67ABA18-3EEE-EC83-80D1-50A9E284A5B6}" dt="2024-09-05T03:16:25.656" v="0" actId="1076"/>
        <pc:sldMkLst>
          <pc:docMk/>
          <pc:sldMk cId="4188000082" sldId="4434"/>
        </pc:sldMkLst>
        <pc:picChg chg="mod">
          <ac:chgData name="Mrutyunjay Parhi" userId="S::mrutyunjay.p@bourntec.com::e35aaae4-dd23-4830-8517-be9b9b838cd9" providerId="AD" clId="Web-{B67ABA18-3EEE-EC83-80D1-50A9E284A5B6}" dt="2024-09-05T03:16:25.656" v="0" actId="1076"/>
          <ac:picMkLst>
            <pc:docMk/>
            <pc:sldMk cId="4188000082" sldId="4434"/>
            <ac:picMk id="3" creationId="{1E9A54D3-2B42-413D-8B8B-BF1C28DEA7BF}"/>
          </ac:picMkLst>
        </pc:picChg>
      </pc:sldChg>
    </pc:docChg>
  </pc:docChgLst>
  <pc:docChgLst>
    <pc:chgData name="P. Aditya Patro" userId="S::aditya.p@bourntec.com::0174e155-7e98-4669-8b8e-b65cfb63d3c5" providerId="AD" clId="Web-{14AA94ED-4B58-7825-92DF-D769D9D4201F}"/>
    <pc:docChg chg="modSld">
      <pc:chgData name="P. Aditya Patro" userId="S::aditya.p@bourntec.com::0174e155-7e98-4669-8b8e-b65cfb63d3c5" providerId="AD" clId="Web-{14AA94ED-4B58-7825-92DF-D769D9D4201F}" dt="2024-09-05T03:25:25.451" v="0" actId="1076"/>
      <pc:docMkLst>
        <pc:docMk/>
      </pc:docMkLst>
      <pc:sldChg chg="modSp">
        <pc:chgData name="P. Aditya Patro" userId="S::aditya.p@bourntec.com::0174e155-7e98-4669-8b8e-b65cfb63d3c5" providerId="AD" clId="Web-{14AA94ED-4B58-7825-92DF-D769D9D4201F}" dt="2024-09-05T03:25:25.451" v="0" actId="1076"/>
        <pc:sldMkLst>
          <pc:docMk/>
          <pc:sldMk cId="4188000082" sldId="4434"/>
        </pc:sldMkLst>
        <pc:picChg chg="mod">
          <ac:chgData name="P. Aditya Patro" userId="S::aditya.p@bourntec.com::0174e155-7e98-4669-8b8e-b65cfb63d3c5" providerId="AD" clId="Web-{14AA94ED-4B58-7825-92DF-D769D9D4201F}" dt="2024-09-05T03:25:25.451" v="0" actId="1076"/>
          <ac:picMkLst>
            <pc:docMk/>
            <pc:sldMk cId="4188000082" sldId="4434"/>
            <ac:picMk id="3" creationId="{1E9A54D3-2B42-413D-8B8B-BF1C28DEA7BF}"/>
          </ac:picMkLst>
        </pc:picChg>
      </pc:sldChg>
    </pc:docChg>
  </pc:docChgLst>
  <pc:docChgLst>
    <pc:chgData name="Rohit Kumar Subudhi" userId="S::rohitkumar.s@bourntec.com::629b46ab-2c5c-47b2-9117-d775c7192440" providerId="AD" clId="Web-{CF4C6452-D452-9E0A-7AC2-541705338029}"/>
    <pc:docChg chg="modSld">
      <pc:chgData name="Rohit Kumar Subudhi" userId="S::rohitkumar.s@bourntec.com::629b46ab-2c5c-47b2-9117-d775c7192440" providerId="AD" clId="Web-{CF4C6452-D452-9E0A-7AC2-541705338029}" dt="2024-09-08T16:33:00.207" v="2" actId="20577"/>
      <pc:docMkLst>
        <pc:docMk/>
      </pc:docMkLst>
      <pc:sldChg chg="modSp">
        <pc:chgData name="Rohit Kumar Subudhi" userId="S::rohitkumar.s@bourntec.com::629b46ab-2c5c-47b2-9117-d775c7192440" providerId="AD" clId="Web-{CF4C6452-D452-9E0A-7AC2-541705338029}" dt="2024-09-08T16:33:00.207" v="2" actId="20577"/>
        <pc:sldMkLst>
          <pc:docMk/>
          <pc:sldMk cId="1173212447" sldId="4436"/>
        </pc:sldMkLst>
        <pc:spChg chg="mod">
          <ac:chgData name="Rohit Kumar Subudhi" userId="S::rohitkumar.s@bourntec.com::629b46ab-2c5c-47b2-9117-d775c7192440" providerId="AD" clId="Web-{CF4C6452-D452-9E0A-7AC2-541705338029}" dt="2024-09-08T16:33:00.207" v="2" actId="20577"/>
          <ac:spMkLst>
            <pc:docMk/>
            <pc:sldMk cId="1173212447" sldId="4436"/>
            <ac:spMk id="2" creationId="{FD34F76E-4449-43CF-B0D7-512B958C1B1A}"/>
          </ac:spMkLst>
        </pc:spChg>
      </pc:sldChg>
    </pc:docChg>
  </pc:docChgLst>
  <pc:docChgLst>
    <pc:chgData name="Mir Jahangir Alli" userId="S::mirjahangir.a@bourntec.com::9ad403d9-f565-428d-85a2-5e82c667abb1" providerId="AD" clId="Web-{E4C00A9E-EC98-2626-3313-7E7A323E40A5}"/>
    <pc:docChg chg="modSld">
      <pc:chgData name="Mir Jahangir Alli" userId="S::mirjahangir.a@bourntec.com::9ad403d9-f565-428d-85a2-5e82c667abb1" providerId="AD" clId="Web-{E4C00A9E-EC98-2626-3313-7E7A323E40A5}" dt="2024-09-05T07:44:44.467" v="2" actId="20577"/>
      <pc:docMkLst>
        <pc:docMk/>
      </pc:docMkLst>
      <pc:sldChg chg="modSp">
        <pc:chgData name="Mir Jahangir Alli" userId="S::mirjahangir.a@bourntec.com::9ad403d9-f565-428d-85a2-5e82c667abb1" providerId="AD" clId="Web-{E4C00A9E-EC98-2626-3313-7E7A323E40A5}" dt="2024-09-05T07:44:44.467" v="2" actId="20577"/>
        <pc:sldMkLst>
          <pc:docMk/>
          <pc:sldMk cId="491972895" sldId="4433"/>
        </pc:sldMkLst>
        <pc:spChg chg="mod">
          <ac:chgData name="Mir Jahangir Alli" userId="S::mirjahangir.a@bourntec.com::9ad403d9-f565-428d-85a2-5e82c667abb1" providerId="AD" clId="Web-{E4C00A9E-EC98-2626-3313-7E7A323E40A5}" dt="2024-09-05T07:44:44.467" v="2" actId="20577"/>
          <ac:spMkLst>
            <pc:docMk/>
            <pc:sldMk cId="491972895" sldId="4433"/>
            <ac:spMk id="2" creationId="{FD34F76E-4449-43CF-B0D7-512B958C1B1A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3EAD8EA-DA4F-F947-9F2E-7BE003097271}" type="datetimeFigureOut">
              <a:rPr lang="en-US" smtClean="0"/>
              <a:t>6/11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C206B04-A6BF-3645-9B46-C58B88D72CA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39541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89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77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566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754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943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131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320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509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206B04-A6BF-3645-9B46-C58B88D72CA2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288761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206B04-A6BF-3645-9B46-C58B88D72CA2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315688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634F013-7BE0-CD45-E573-4AE21C2BC0C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2C69799-2FE2-6AFB-68FD-D9880CB8B8C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CF4C187-832F-930A-2887-9CE37AD89D2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929E772-1859-9FE8-9B5F-6E075049403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206B04-A6BF-3645-9B46-C58B88D72CA2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49302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jpe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jpe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2BD3FC7D-A000-4A16-A5B8-AE399A10D0B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230967" y="329732"/>
            <a:ext cx="5215867" cy="6047077"/>
          </a:xfrm>
          <a:custGeom>
            <a:avLst/>
            <a:gdLst>
              <a:gd name="connsiteX0" fmla="*/ 2644336 w 5215867"/>
              <a:gd name="connsiteY0" fmla="*/ 5455961 h 6047077"/>
              <a:gd name="connsiteX1" fmla="*/ 2642952 w 5215867"/>
              <a:gd name="connsiteY1" fmla="*/ 5456336 h 6047077"/>
              <a:gd name="connsiteX2" fmla="*/ 2642952 w 5215867"/>
              <a:gd name="connsiteY2" fmla="*/ 5456336 h 6047077"/>
              <a:gd name="connsiteX3" fmla="*/ 4624792 w 5215867"/>
              <a:gd name="connsiteY3" fmla="*/ 3193264 h 6047077"/>
              <a:gd name="connsiteX4" fmla="*/ 4630360 w 5215867"/>
              <a:gd name="connsiteY4" fmla="*/ 3237860 h 6047077"/>
              <a:gd name="connsiteX5" fmla="*/ 4762159 w 5215867"/>
              <a:gd name="connsiteY5" fmla="*/ 3230673 h 6047077"/>
              <a:gd name="connsiteX6" fmla="*/ 4755498 w 5215867"/>
              <a:gd name="connsiteY6" fmla="*/ 3328172 h 6047077"/>
              <a:gd name="connsiteX7" fmla="*/ 4765805 w 5215867"/>
              <a:gd name="connsiteY7" fmla="*/ 3426687 h 6047077"/>
              <a:gd name="connsiteX8" fmla="*/ 4770427 w 5215867"/>
              <a:gd name="connsiteY8" fmla="*/ 3447767 h 6047077"/>
              <a:gd name="connsiteX9" fmla="*/ 4771887 w 5215867"/>
              <a:gd name="connsiteY9" fmla="*/ 3459455 h 6047077"/>
              <a:gd name="connsiteX10" fmla="*/ 4778365 w 5215867"/>
              <a:gd name="connsiteY10" fmla="*/ 3483951 h 6047077"/>
              <a:gd name="connsiteX11" fmla="*/ 4787338 w 5215867"/>
              <a:gd name="connsiteY11" fmla="*/ 3524861 h 6047077"/>
              <a:gd name="connsiteX12" fmla="*/ 4796494 w 5215867"/>
              <a:gd name="connsiteY12" fmla="*/ 3552500 h 6047077"/>
              <a:gd name="connsiteX13" fmla="*/ 4806429 w 5215867"/>
              <a:gd name="connsiteY13" fmla="*/ 3590071 h 6047077"/>
              <a:gd name="connsiteX14" fmla="*/ 4851880 w 5215867"/>
              <a:gd name="connsiteY14" fmla="*/ 3719710 h 6047077"/>
              <a:gd name="connsiteX15" fmla="*/ 4851901 w 5215867"/>
              <a:gd name="connsiteY15" fmla="*/ 3719774 h 6047077"/>
              <a:gd name="connsiteX16" fmla="*/ 4909199 w 5215867"/>
              <a:gd name="connsiteY16" fmla="*/ 3870953 h 6047077"/>
              <a:gd name="connsiteX17" fmla="*/ 4937116 w 5215867"/>
              <a:gd name="connsiteY17" fmla="*/ 3948719 h 6047077"/>
              <a:gd name="connsiteX18" fmla="*/ 4949582 w 5215867"/>
              <a:gd name="connsiteY18" fmla="*/ 3985758 h 6047077"/>
              <a:gd name="connsiteX19" fmla="*/ 4981594 w 5215867"/>
              <a:gd name="connsiteY19" fmla="*/ 4100907 h 6047077"/>
              <a:gd name="connsiteX20" fmla="*/ 4981617 w 5215867"/>
              <a:gd name="connsiteY20" fmla="*/ 4100993 h 6047077"/>
              <a:gd name="connsiteX21" fmla="*/ 4987784 w 5215867"/>
              <a:gd name="connsiteY21" fmla="*/ 4131845 h 6047077"/>
              <a:gd name="connsiteX22" fmla="*/ 4968727 w 5215867"/>
              <a:gd name="connsiteY22" fmla="*/ 4887111 h 6047077"/>
              <a:gd name="connsiteX23" fmla="*/ 4041416 w 5215867"/>
              <a:gd name="connsiteY23" fmla="*/ 5999266 h 6047077"/>
              <a:gd name="connsiteX24" fmla="*/ 3690988 w 5215867"/>
              <a:gd name="connsiteY24" fmla="*/ 6046258 h 6047077"/>
              <a:gd name="connsiteX25" fmla="*/ 3570039 w 5215867"/>
              <a:gd name="connsiteY25" fmla="*/ 6034802 h 6047077"/>
              <a:gd name="connsiteX26" fmla="*/ 3451375 w 5215867"/>
              <a:gd name="connsiteY26" fmla="*/ 6009894 h 6047077"/>
              <a:gd name="connsiteX27" fmla="*/ 3135234 w 5215867"/>
              <a:gd name="connsiteY27" fmla="*/ 5855078 h 6047077"/>
              <a:gd name="connsiteX28" fmla="*/ 2946429 w 5215867"/>
              <a:gd name="connsiteY28" fmla="*/ 5624938 h 6047077"/>
              <a:gd name="connsiteX29" fmla="*/ 2916139 w 5215867"/>
              <a:gd name="connsiteY29" fmla="*/ 5539687 h 6047077"/>
              <a:gd name="connsiteX30" fmla="*/ 2916138 w 5215867"/>
              <a:gd name="connsiteY30" fmla="*/ 5539688 h 6047077"/>
              <a:gd name="connsiteX31" fmla="*/ 2916138 w 5215867"/>
              <a:gd name="connsiteY31" fmla="*/ 5539687 h 6047077"/>
              <a:gd name="connsiteX32" fmla="*/ 2818872 w 5215867"/>
              <a:gd name="connsiteY32" fmla="*/ 5578983 h 6047077"/>
              <a:gd name="connsiteX33" fmla="*/ 2773659 w 5215867"/>
              <a:gd name="connsiteY33" fmla="*/ 5591243 h 6047077"/>
              <a:gd name="connsiteX34" fmla="*/ 2763195 w 5215867"/>
              <a:gd name="connsiteY34" fmla="*/ 5522053 h 6047077"/>
              <a:gd name="connsiteX35" fmla="*/ 2758038 w 5215867"/>
              <a:gd name="connsiteY35" fmla="*/ 5415847 h 6047077"/>
              <a:gd name="connsiteX36" fmla="*/ 2688166 w 5215867"/>
              <a:gd name="connsiteY36" fmla="*/ 5444076 h 6047077"/>
              <a:gd name="connsiteX37" fmla="*/ 2644336 w 5215867"/>
              <a:gd name="connsiteY37" fmla="*/ 5455961 h 6047077"/>
              <a:gd name="connsiteX38" fmla="*/ 2688165 w 5215867"/>
              <a:gd name="connsiteY38" fmla="*/ 5444075 h 6047077"/>
              <a:gd name="connsiteX39" fmla="*/ 2758038 w 5215867"/>
              <a:gd name="connsiteY39" fmla="*/ 5415845 h 6047077"/>
              <a:gd name="connsiteX40" fmla="*/ 2752301 w 5215867"/>
              <a:gd name="connsiteY40" fmla="*/ 5297683 h 6047077"/>
              <a:gd name="connsiteX41" fmla="*/ 3351876 w 5215867"/>
              <a:gd name="connsiteY41" fmla="*/ 3847030 h 6047077"/>
              <a:gd name="connsiteX42" fmla="*/ 4619838 w 5215867"/>
              <a:gd name="connsiteY42" fmla="*/ 3238434 h 6047077"/>
              <a:gd name="connsiteX43" fmla="*/ 4629462 w 5215867"/>
              <a:gd name="connsiteY43" fmla="*/ 3237909 h 6047077"/>
              <a:gd name="connsiteX44" fmla="*/ 4631452 w 5215867"/>
              <a:gd name="connsiteY44" fmla="*/ 3095764 h 6047077"/>
              <a:gd name="connsiteX45" fmla="*/ 4624793 w 5215867"/>
              <a:gd name="connsiteY45" fmla="*/ 3193245 h 6047077"/>
              <a:gd name="connsiteX46" fmla="*/ 4625666 w 5215867"/>
              <a:gd name="connsiteY46" fmla="*/ 3127448 h 6047077"/>
              <a:gd name="connsiteX47" fmla="*/ 4629561 w 5215867"/>
              <a:gd name="connsiteY47" fmla="*/ 3095867 h 6047077"/>
              <a:gd name="connsiteX48" fmla="*/ 2360150 w 5215867"/>
              <a:gd name="connsiteY48" fmla="*/ 34 h 6047077"/>
              <a:gd name="connsiteX49" fmla="*/ 3435503 w 5215867"/>
              <a:gd name="connsiteY49" fmla="*/ 436958 h 6047077"/>
              <a:gd name="connsiteX50" fmla="*/ 3827403 w 5215867"/>
              <a:gd name="connsiteY50" fmla="*/ 1938500 h 6047077"/>
              <a:gd name="connsiteX51" fmla="*/ 3826318 w 5215867"/>
              <a:gd name="connsiteY51" fmla="*/ 1941665 h 6047077"/>
              <a:gd name="connsiteX52" fmla="*/ 3852559 w 5215867"/>
              <a:gd name="connsiteY52" fmla="*/ 1965062 h 6047077"/>
              <a:gd name="connsiteX53" fmla="*/ 3980976 w 5215867"/>
              <a:gd name="connsiteY53" fmla="*/ 1887831 h 6047077"/>
              <a:gd name="connsiteX54" fmla="*/ 4538988 w 5215867"/>
              <a:gd name="connsiteY54" fmla="*/ 1620999 h 6047077"/>
              <a:gd name="connsiteX55" fmla="*/ 5180748 w 5215867"/>
              <a:gd name="connsiteY55" fmla="*/ 1910306 h 6047077"/>
              <a:gd name="connsiteX56" fmla="*/ 4675398 w 5215867"/>
              <a:gd name="connsiteY56" fmla="*/ 2929665 h 6047077"/>
              <a:gd name="connsiteX57" fmla="*/ 4633790 w 5215867"/>
              <a:gd name="connsiteY57" fmla="*/ 3061556 h 6047077"/>
              <a:gd name="connsiteX58" fmla="*/ 4629561 w 5215867"/>
              <a:gd name="connsiteY58" fmla="*/ 3095867 h 6047077"/>
              <a:gd name="connsiteX59" fmla="*/ 4489131 w 5215867"/>
              <a:gd name="connsiteY59" fmla="*/ 3103526 h 6047077"/>
              <a:gd name="connsiteX60" fmla="*/ 3221170 w 5215867"/>
              <a:gd name="connsiteY60" fmla="*/ 3712121 h 6047077"/>
              <a:gd name="connsiteX61" fmla="*/ 2632489 w 5215867"/>
              <a:gd name="connsiteY61" fmla="*/ 5387144 h 6047077"/>
              <a:gd name="connsiteX62" fmla="*/ 2642952 w 5215867"/>
              <a:gd name="connsiteY62" fmla="*/ 5456336 h 6047077"/>
              <a:gd name="connsiteX63" fmla="*/ 2445562 w 5215867"/>
              <a:gd name="connsiteY63" fmla="*/ 5509859 h 6047077"/>
              <a:gd name="connsiteX64" fmla="*/ 834176 w 5215867"/>
              <a:gd name="connsiteY64" fmla="*/ 5166243 h 6047077"/>
              <a:gd name="connsiteX65" fmla="*/ 40655 w 5215867"/>
              <a:gd name="connsiteY65" fmla="*/ 4192228 h 6047077"/>
              <a:gd name="connsiteX66" fmla="*/ 312295 w 5215867"/>
              <a:gd name="connsiteY66" fmla="*/ 3148011 h 6047077"/>
              <a:gd name="connsiteX67" fmla="*/ 882736 w 5215867"/>
              <a:gd name="connsiteY67" fmla="*/ 2838059 h 6047077"/>
              <a:gd name="connsiteX68" fmla="*/ 931320 w 5215867"/>
              <a:gd name="connsiteY68" fmla="*/ 2829623 h 6047077"/>
              <a:gd name="connsiteX69" fmla="*/ 942860 w 5215867"/>
              <a:gd name="connsiteY69" fmla="*/ 2780930 h 6047077"/>
              <a:gd name="connsiteX70" fmla="*/ 1113218 w 5215867"/>
              <a:gd name="connsiteY70" fmla="*/ 2382213 h 6047077"/>
              <a:gd name="connsiteX71" fmla="*/ 1119382 w 5215867"/>
              <a:gd name="connsiteY71" fmla="*/ 2372996 h 6047077"/>
              <a:gd name="connsiteX72" fmla="*/ 1109381 w 5215867"/>
              <a:gd name="connsiteY72" fmla="*/ 2359582 h 6047077"/>
              <a:gd name="connsiteX73" fmla="*/ 1290807 w 5215867"/>
              <a:gd name="connsiteY73" fmla="*/ 451472 h 6047077"/>
              <a:gd name="connsiteX74" fmla="*/ 2360150 w 5215867"/>
              <a:gd name="connsiteY74" fmla="*/ 34 h 60470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</a:cxnLst>
            <a:rect l="l" t="t" r="r" b="b"/>
            <a:pathLst>
              <a:path w="5215867" h="6047077">
                <a:moveTo>
                  <a:pt x="2644336" y="5455961"/>
                </a:moveTo>
                <a:lnTo>
                  <a:pt x="2642952" y="5456336"/>
                </a:lnTo>
                <a:lnTo>
                  <a:pt x="2642952" y="5456336"/>
                </a:lnTo>
                <a:close/>
                <a:moveTo>
                  <a:pt x="4624792" y="3193264"/>
                </a:moveTo>
                <a:lnTo>
                  <a:pt x="4630360" y="3237860"/>
                </a:lnTo>
                <a:lnTo>
                  <a:pt x="4762159" y="3230673"/>
                </a:lnTo>
                <a:lnTo>
                  <a:pt x="4755498" y="3328172"/>
                </a:lnTo>
                <a:cubicBezTo>
                  <a:pt x="4756724" y="3361057"/>
                  <a:pt x="4760328" y="3393901"/>
                  <a:pt x="4765805" y="3426687"/>
                </a:cubicBezTo>
                <a:lnTo>
                  <a:pt x="4770427" y="3447767"/>
                </a:lnTo>
                <a:lnTo>
                  <a:pt x="4771887" y="3459455"/>
                </a:lnTo>
                <a:lnTo>
                  <a:pt x="4778365" y="3483951"/>
                </a:lnTo>
                <a:lnTo>
                  <a:pt x="4787338" y="3524861"/>
                </a:lnTo>
                <a:lnTo>
                  <a:pt x="4796494" y="3552500"/>
                </a:lnTo>
                <a:lnTo>
                  <a:pt x="4806429" y="3590071"/>
                </a:lnTo>
                <a:lnTo>
                  <a:pt x="4851880" y="3719710"/>
                </a:lnTo>
                <a:lnTo>
                  <a:pt x="4851901" y="3719774"/>
                </a:lnTo>
                <a:lnTo>
                  <a:pt x="4909199" y="3870953"/>
                </a:lnTo>
                <a:lnTo>
                  <a:pt x="4937116" y="3948719"/>
                </a:lnTo>
                <a:lnTo>
                  <a:pt x="4949582" y="3985758"/>
                </a:lnTo>
                <a:lnTo>
                  <a:pt x="4981594" y="4100907"/>
                </a:lnTo>
                <a:lnTo>
                  <a:pt x="4981617" y="4100993"/>
                </a:lnTo>
                <a:cubicBezTo>
                  <a:pt x="4983855" y="4111291"/>
                  <a:pt x="4985920" y="4121561"/>
                  <a:pt x="4987784" y="4131845"/>
                </a:cubicBezTo>
                <a:cubicBezTo>
                  <a:pt x="5033567" y="4381938"/>
                  <a:pt x="5028611" y="4645052"/>
                  <a:pt x="4968727" y="4887111"/>
                </a:cubicBezTo>
                <a:cubicBezTo>
                  <a:pt x="4848862" y="5371586"/>
                  <a:pt x="4531194" y="5836132"/>
                  <a:pt x="4041416" y="5999266"/>
                </a:cubicBezTo>
                <a:cubicBezTo>
                  <a:pt x="3932940" y="6035396"/>
                  <a:pt x="3812209" y="6050965"/>
                  <a:pt x="3690988" y="6046258"/>
                </a:cubicBezTo>
                <a:lnTo>
                  <a:pt x="3570039" y="6034802"/>
                </a:lnTo>
                <a:lnTo>
                  <a:pt x="3451375" y="6009894"/>
                </a:lnTo>
                <a:cubicBezTo>
                  <a:pt x="3334724" y="5978279"/>
                  <a:pt x="3225423" y="5926578"/>
                  <a:pt x="3135234" y="5855078"/>
                </a:cubicBezTo>
                <a:cubicBezTo>
                  <a:pt x="3055503" y="5791864"/>
                  <a:pt x="2989901" y="5711759"/>
                  <a:pt x="2946429" y="5624938"/>
                </a:cubicBezTo>
                <a:lnTo>
                  <a:pt x="2916139" y="5539687"/>
                </a:lnTo>
                <a:lnTo>
                  <a:pt x="2916138" y="5539688"/>
                </a:lnTo>
                <a:lnTo>
                  <a:pt x="2916138" y="5539687"/>
                </a:lnTo>
                <a:lnTo>
                  <a:pt x="2818872" y="5578983"/>
                </a:lnTo>
                <a:lnTo>
                  <a:pt x="2773659" y="5591243"/>
                </a:lnTo>
                <a:lnTo>
                  <a:pt x="2763195" y="5522053"/>
                </a:lnTo>
                <a:lnTo>
                  <a:pt x="2758038" y="5415847"/>
                </a:lnTo>
                <a:lnTo>
                  <a:pt x="2688166" y="5444076"/>
                </a:lnTo>
                <a:lnTo>
                  <a:pt x="2644336" y="5455961"/>
                </a:lnTo>
                <a:lnTo>
                  <a:pt x="2688165" y="5444075"/>
                </a:lnTo>
                <a:lnTo>
                  <a:pt x="2758038" y="5415845"/>
                </a:lnTo>
                <a:lnTo>
                  <a:pt x="2752301" y="5297683"/>
                </a:lnTo>
                <a:cubicBezTo>
                  <a:pt x="2755003" y="4773418"/>
                  <a:pt x="2954591" y="4249731"/>
                  <a:pt x="3351876" y="3847030"/>
                </a:cubicBezTo>
                <a:cubicBezTo>
                  <a:pt x="3705017" y="3489077"/>
                  <a:pt x="4155861" y="3286020"/>
                  <a:pt x="4619838" y="3238434"/>
                </a:cubicBezTo>
                <a:lnTo>
                  <a:pt x="4629462" y="3237909"/>
                </a:lnTo>
                <a:close/>
                <a:moveTo>
                  <a:pt x="4631452" y="3095764"/>
                </a:moveTo>
                <a:lnTo>
                  <a:pt x="4624793" y="3193245"/>
                </a:lnTo>
                <a:lnTo>
                  <a:pt x="4625666" y="3127448"/>
                </a:lnTo>
                <a:lnTo>
                  <a:pt x="4629561" y="3095867"/>
                </a:lnTo>
                <a:close/>
                <a:moveTo>
                  <a:pt x="2360150" y="34"/>
                </a:moveTo>
                <a:cubicBezTo>
                  <a:pt x="2748264" y="-2593"/>
                  <a:pt x="3137379" y="142841"/>
                  <a:pt x="3435503" y="436958"/>
                </a:cubicBezTo>
                <a:cubicBezTo>
                  <a:pt x="3845427" y="841368"/>
                  <a:pt x="3976597" y="1421599"/>
                  <a:pt x="3827403" y="1938500"/>
                </a:cubicBezTo>
                <a:lnTo>
                  <a:pt x="3826318" y="1941665"/>
                </a:lnTo>
                <a:lnTo>
                  <a:pt x="3852559" y="1965062"/>
                </a:lnTo>
                <a:lnTo>
                  <a:pt x="3980976" y="1887831"/>
                </a:lnTo>
                <a:cubicBezTo>
                  <a:pt x="4153485" y="1773495"/>
                  <a:pt x="4330113" y="1654654"/>
                  <a:pt x="4538988" y="1620999"/>
                </a:cubicBezTo>
                <a:cubicBezTo>
                  <a:pt x="4790168" y="1580555"/>
                  <a:pt x="5076314" y="1651980"/>
                  <a:pt x="5180748" y="1910306"/>
                </a:cubicBezTo>
                <a:cubicBezTo>
                  <a:pt x="5355509" y="2342710"/>
                  <a:pt x="4829136" y="2593513"/>
                  <a:pt x="4675398" y="2929665"/>
                </a:cubicBezTo>
                <a:cubicBezTo>
                  <a:pt x="4655290" y="2973633"/>
                  <a:pt x="4641823" y="3017610"/>
                  <a:pt x="4633790" y="3061556"/>
                </a:cubicBezTo>
                <a:lnTo>
                  <a:pt x="4629561" y="3095867"/>
                </a:lnTo>
                <a:lnTo>
                  <a:pt x="4489131" y="3103526"/>
                </a:lnTo>
                <a:cubicBezTo>
                  <a:pt x="4025155" y="3151112"/>
                  <a:pt x="3574312" y="3354168"/>
                  <a:pt x="3221170" y="3712121"/>
                </a:cubicBezTo>
                <a:cubicBezTo>
                  <a:pt x="2767129" y="4172350"/>
                  <a:pt x="2571308" y="4790603"/>
                  <a:pt x="2632489" y="5387144"/>
                </a:cubicBezTo>
                <a:lnTo>
                  <a:pt x="2642952" y="5456336"/>
                </a:lnTo>
                <a:lnTo>
                  <a:pt x="2445562" y="5509859"/>
                </a:lnTo>
                <a:cubicBezTo>
                  <a:pt x="1879524" y="5625397"/>
                  <a:pt x="1308411" y="5495898"/>
                  <a:pt x="834176" y="5166243"/>
                </a:cubicBezTo>
                <a:cubicBezTo>
                  <a:pt x="489193" y="4926416"/>
                  <a:pt x="154453" y="4609450"/>
                  <a:pt x="40655" y="4192228"/>
                </a:cubicBezTo>
                <a:cubicBezTo>
                  <a:pt x="-70113" y="3786117"/>
                  <a:pt x="53673" y="3406508"/>
                  <a:pt x="312295" y="3148011"/>
                </a:cubicBezTo>
                <a:cubicBezTo>
                  <a:pt x="463158" y="2997224"/>
                  <a:pt x="659902" y="2887645"/>
                  <a:pt x="882736" y="2838059"/>
                </a:cubicBezTo>
                <a:lnTo>
                  <a:pt x="931320" y="2829623"/>
                </a:lnTo>
                <a:lnTo>
                  <a:pt x="942860" y="2780930"/>
                </a:lnTo>
                <a:cubicBezTo>
                  <a:pt x="982646" y="2643088"/>
                  <a:pt x="1039424" y="2509085"/>
                  <a:pt x="1113218" y="2382213"/>
                </a:cubicBezTo>
                <a:lnTo>
                  <a:pt x="1119382" y="2372996"/>
                </a:lnTo>
                <a:lnTo>
                  <a:pt x="1109381" y="2359582"/>
                </a:lnTo>
                <a:cubicBezTo>
                  <a:pt x="716739" y="1773569"/>
                  <a:pt x="776102" y="973191"/>
                  <a:pt x="1290807" y="451472"/>
                </a:cubicBezTo>
                <a:cubicBezTo>
                  <a:pt x="1584923" y="153347"/>
                  <a:pt x="1972036" y="2660"/>
                  <a:pt x="2360150" y="34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 sz="1600">
                <a:solidFill>
                  <a:schemeClr val="accent1"/>
                </a:solidFill>
              </a:defRPr>
            </a:lvl1pPr>
          </a:lstStyle>
          <a:p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27589605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CB0F19F4-201E-4B3B-B39C-EAA0356CB22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875069" y="2"/>
            <a:ext cx="5316931" cy="6857999"/>
          </a:xfrm>
          <a:custGeom>
            <a:avLst/>
            <a:gdLst>
              <a:gd name="connsiteX0" fmla="*/ 1525981 w 5316931"/>
              <a:gd name="connsiteY0" fmla="*/ 0 h 6857999"/>
              <a:gd name="connsiteX1" fmla="*/ 1542834 w 5316931"/>
              <a:gd name="connsiteY1" fmla="*/ 0 h 6857999"/>
              <a:gd name="connsiteX2" fmla="*/ 3876596 w 5316931"/>
              <a:gd name="connsiteY2" fmla="*/ 0 h 6857999"/>
              <a:gd name="connsiteX3" fmla="*/ 5316931 w 5316931"/>
              <a:gd name="connsiteY3" fmla="*/ 0 h 6857999"/>
              <a:gd name="connsiteX4" fmla="*/ 5316931 w 5316931"/>
              <a:gd name="connsiteY4" fmla="*/ 6857999 h 6857999"/>
              <a:gd name="connsiteX5" fmla="*/ 36663 w 5316931"/>
              <a:gd name="connsiteY5" fmla="*/ 6857999 h 6857999"/>
              <a:gd name="connsiteX6" fmla="*/ 26146 w 5316931"/>
              <a:gd name="connsiteY6" fmla="*/ 6824314 h 6857999"/>
              <a:gd name="connsiteX7" fmla="*/ 918918 w 5316931"/>
              <a:gd name="connsiteY7" fmla="*/ 5078007 h 6857999"/>
              <a:gd name="connsiteX8" fmla="*/ 523537 w 5316931"/>
              <a:gd name="connsiteY8" fmla="*/ 3209562 h 6857999"/>
              <a:gd name="connsiteX9" fmla="*/ 510059 w 5316931"/>
              <a:gd name="connsiteY9" fmla="*/ 3154014 h 6857999"/>
              <a:gd name="connsiteX10" fmla="*/ 488711 w 5316931"/>
              <a:gd name="connsiteY10" fmla="*/ 1781541 h 6857999"/>
              <a:gd name="connsiteX11" fmla="*/ 1495114 w 5316931"/>
              <a:gd name="connsiteY11" fmla="*/ 35431 h 6857999"/>
              <a:gd name="connsiteX12" fmla="*/ 1525981 w 5316931"/>
              <a:gd name="connsiteY12" fmla="*/ 12513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5316931" h="6857999">
                <a:moveTo>
                  <a:pt x="1525981" y="0"/>
                </a:moveTo>
                <a:lnTo>
                  <a:pt x="1542834" y="0"/>
                </a:lnTo>
                <a:lnTo>
                  <a:pt x="3876596" y="0"/>
                </a:lnTo>
                <a:lnTo>
                  <a:pt x="5316931" y="0"/>
                </a:lnTo>
                <a:lnTo>
                  <a:pt x="5316931" y="6857999"/>
                </a:lnTo>
                <a:lnTo>
                  <a:pt x="36663" y="6857999"/>
                </a:lnTo>
                <a:lnTo>
                  <a:pt x="26146" y="6824314"/>
                </a:lnTo>
                <a:cubicBezTo>
                  <a:pt x="-157781" y="6131618"/>
                  <a:pt x="680618" y="5660770"/>
                  <a:pt x="918918" y="5078007"/>
                </a:cubicBezTo>
                <a:cubicBezTo>
                  <a:pt x="1184878" y="4427576"/>
                  <a:pt x="679385" y="3807453"/>
                  <a:pt x="523537" y="3209562"/>
                </a:cubicBezTo>
                <a:cubicBezTo>
                  <a:pt x="518712" y="3191034"/>
                  <a:pt x="514202" y="3172542"/>
                  <a:pt x="510059" y="3154014"/>
                </a:cubicBezTo>
                <a:cubicBezTo>
                  <a:pt x="408419" y="2703402"/>
                  <a:pt x="397933" y="2225395"/>
                  <a:pt x="488711" y="1781541"/>
                </a:cubicBezTo>
                <a:cubicBezTo>
                  <a:pt x="624993" y="1115272"/>
                  <a:pt x="964088" y="461110"/>
                  <a:pt x="1495114" y="35431"/>
                </a:cubicBezTo>
                <a:lnTo>
                  <a:pt x="1525981" y="12513"/>
                </a:lnTo>
                <a:close/>
              </a:path>
            </a:pathLst>
          </a:custGeom>
          <a:ln>
            <a:noFill/>
          </a:ln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332691026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am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3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575387" y="1639790"/>
            <a:ext cx="1534155" cy="115214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2295374" y="1639790"/>
            <a:ext cx="3558679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6279803" y="1639790"/>
            <a:ext cx="1534155" cy="115214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8003570" y="1639790"/>
            <a:ext cx="3558679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387" y="3886577"/>
            <a:ext cx="1534155" cy="115214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4" name="Content Placeholder 13"/>
          <p:cNvSpPr>
            <a:spLocks noGrp="1"/>
          </p:cNvSpPr>
          <p:nvPr>
            <p:ph sz="quarter" idx="26" hasCustomPrompt="1"/>
          </p:nvPr>
        </p:nvSpPr>
        <p:spPr>
          <a:xfrm>
            <a:off x="2295374" y="3886577"/>
            <a:ext cx="3558679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6279803" y="3886577"/>
            <a:ext cx="1534155" cy="115214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6" name="Content Placeholder 13"/>
          <p:cNvSpPr>
            <a:spLocks noGrp="1"/>
          </p:cNvSpPr>
          <p:nvPr>
            <p:ph sz="quarter" idx="28" hasCustomPrompt="1"/>
          </p:nvPr>
        </p:nvSpPr>
        <p:spPr>
          <a:xfrm>
            <a:off x="8003570" y="3886577"/>
            <a:ext cx="3558679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9" name="Text Placeholder 4"/>
          <p:cNvSpPr>
            <a:spLocks noGrp="1"/>
          </p:cNvSpPr>
          <p:nvPr>
            <p:ph type="body" sz="quarter" idx="41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2106395373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 Team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3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575387" y="1639790"/>
            <a:ext cx="1534155" cy="115214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2295374" y="1639790"/>
            <a:ext cx="3558679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6279803" y="1639790"/>
            <a:ext cx="1534155" cy="115214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8003570" y="1639790"/>
            <a:ext cx="3558679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387" y="3886577"/>
            <a:ext cx="1534155" cy="115214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4" name="Content Placeholder 13"/>
          <p:cNvSpPr>
            <a:spLocks noGrp="1"/>
          </p:cNvSpPr>
          <p:nvPr>
            <p:ph sz="quarter" idx="26" hasCustomPrompt="1"/>
          </p:nvPr>
        </p:nvSpPr>
        <p:spPr>
          <a:xfrm>
            <a:off x="2295374" y="3886577"/>
            <a:ext cx="3558679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6279803" y="3886577"/>
            <a:ext cx="1534155" cy="115214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6" name="Content Placeholder 13"/>
          <p:cNvSpPr>
            <a:spLocks noGrp="1"/>
          </p:cNvSpPr>
          <p:nvPr>
            <p:ph sz="quarter" idx="28" hasCustomPrompt="1"/>
          </p:nvPr>
        </p:nvSpPr>
        <p:spPr>
          <a:xfrm>
            <a:off x="8003570" y="3886577"/>
            <a:ext cx="3558679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180391439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Team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3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343360" y="1639790"/>
            <a:ext cx="1840992" cy="1380744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575389" y="3256994"/>
            <a:ext cx="3376937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15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50" i="1"/>
            </a:lvl2pPr>
            <a:lvl3pPr marL="0" indent="0" algn="ctr">
              <a:buNone/>
              <a:defRPr sz="105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5128297" y="1639790"/>
            <a:ext cx="1840992" cy="1380744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4360326" y="3256994"/>
            <a:ext cx="3376937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15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50" i="1"/>
            </a:lvl2pPr>
            <a:lvl3pPr marL="0" indent="0" algn="ctr">
              <a:buNone/>
              <a:defRPr sz="105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8913235" y="1639789"/>
            <a:ext cx="1840992" cy="1380744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8145264" y="3256994"/>
            <a:ext cx="3376937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15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50" i="1"/>
            </a:lvl2pPr>
            <a:lvl3pPr marL="0" indent="0" algn="ctr">
              <a:buNone/>
              <a:defRPr sz="105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9" name="Text Placeholder 4"/>
          <p:cNvSpPr>
            <a:spLocks noGrp="1"/>
          </p:cNvSpPr>
          <p:nvPr>
            <p:ph type="body" sz="quarter" idx="41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884542163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Team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3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575389" y="3256994"/>
            <a:ext cx="3376937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15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50" i="1"/>
            </a:lvl2pPr>
            <a:lvl3pPr marL="0" indent="0" algn="ctr">
              <a:buNone/>
              <a:defRPr sz="105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4360326" y="3256994"/>
            <a:ext cx="3376937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15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50" i="1"/>
            </a:lvl2pPr>
            <a:lvl3pPr marL="0" indent="0" algn="ctr">
              <a:buNone/>
              <a:defRPr sz="105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8145264" y="3256994"/>
            <a:ext cx="3376937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15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50" i="1"/>
            </a:lvl2pPr>
            <a:lvl3pPr marL="0" indent="0" algn="ctr">
              <a:buNone/>
              <a:defRPr sz="105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343360" y="1639790"/>
            <a:ext cx="1840992" cy="1380744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5128297" y="1639790"/>
            <a:ext cx="1840992" cy="1380744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8913235" y="1639789"/>
            <a:ext cx="1840992" cy="1380744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230911369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am Sub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3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000736" y="1639790"/>
            <a:ext cx="1840992" cy="1380744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719255" y="3256994"/>
            <a:ext cx="2403956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15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50" i="1"/>
            </a:lvl2pPr>
            <a:lvl3pPr marL="0" indent="0" algn="ctr">
              <a:buNone/>
              <a:defRPr sz="105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3804599" y="1639790"/>
            <a:ext cx="1840992" cy="1380744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3523117" y="3256994"/>
            <a:ext cx="2403956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15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50" i="1"/>
            </a:lvl2pPr>
            <a:lvl3pPr marL="0" indent="0" algn="ctr">
              <a:buNone/>
              <a:defRPr sz="105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6608461" y="1639790"/>
            <a:ext cx="1840992" cy="1380744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6326979" y="3256994"/>
            <a:ext cx="2403956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15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50" i="1"/>
            </a:lvl2pPr>
            <a:lvl3pPr marL="0" indent="0" algn="ctr">
              <a:buNone/>
              <a:defRPr sz="105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9" name="Text Placeholder 4"/>
          <p:cNvSpPr>
            <a:spLocks noGrp="1"/>
          </p:cNvSpPr>
          <p:nvPr>
            <p:ph type="body" sz="quarter" idx="41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42"/>
          </p:nvPr>
        </p:nvSpPr>
        <p:spPr>
          <a:xfrm>
            <a:off x="9412323" y="1639789"/>
            <a:ext cx="1840992" cy="1380744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tx2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Content Placeholder 13"/>
          <p:cNvSpPr>
            <a:spLocks noGrp="1"/>
          </p:cNvSpPr>
          <p:nvPr>
            <p:ph sz="quarter" idx="43" hasCustomPrompt="1"/>
          </p:nvPr>
        </p:nvSpPr>
        <p:spPr>
          <a:xfrm>
            <a:off x="9130842" y="3256994"/>
            <a:ext cx="2403956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15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50" i="1"/>
            </a:lvl2pPr>
            <a:lvl3pPr marL="0" indent="0" algn="ctr">
              <a:buNone/>
              <a:defRPr sz="105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609742968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am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3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719255" y="3256994"/>
            <a:ext cx="2403956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15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50" i="1"/>
            </a:lvl2pPr>
            <a:lvl3pPr marL="0" indent="0" algn="ctr">
              <a:buNone/>
              <a:defRPr sz="105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3523117" y="3256994"/>
            <a:ext cx="2403956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15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50" i="1"/>
            </a:lvl2pPr>
            <a:lvl3pPr marL="0" indent="0" algn="ctr">
              <a:buNone/>
              <a:defRPr sz="105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6326979" y="3256994"/>
            <a:ext cx="2403956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15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50" i="1"/>
            </a:lvl2pPr>
            <a:lvl3pPr marL="0" indent="0" algn="ctr">
              <a:buNone/>
              <a:defRPr sz="105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Content Placeholder 13"/>
          <p:cNvSpPr>
            <a:spLocks noGrp="1"/>
          </p:cNvSpPr>
          <p:nvPr>
            <p:ph sz="quarter" idx="43" hasCustomPrompt="1"/>
          </p:nvPr>
        </p:nvSpPr>
        <p:spPr>
          <a:xfrm>
            <a:off x="9130842" y="3256994"/>
            <a:ext cx="2403956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15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50" i="1"/>
            </a:lvl2pPr>
            <a:lvl3pPr marL="0" indent="0" algn="ctr">
              <a:buNone/>
              <a:defRPr sz="105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000736" y="1639790"/>
            <a:ext cx="1840992" cy="1380744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3804599" y="1639790"/>
            <a:ext cx="1840992" cy="1380744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6608461" y="1639790"/>
            <a:ext cx="1840992" cy="1380744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42"/>
          </p:nvPr>
        </p:nvSpPr>
        <p:spPr>
          <a:xfrm>
            <a:off x="9412323" y="1639789"/>
            <a:ext cx="1840992" cy="1380744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tx2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952616656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3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2" y="1268759"/>
            <a:ext cx="2352260" cy="3535680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257971" y="1268759"/>
            <a:ext cx="2352260" cy="3535680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467709" y="1268759"/>
            <a:ext cx="2479811" cy="3535680"/>
          </a:xfrm>
        </p:spPr>
        <p:txBody>
          <a:bodyPr>
            <a:noAutofit/>
          </a:bodyPr>
          <a:lstStyle>
            <a:lvl1pPr marL="0" indent="0">
              <a:buNone/>
              <a:defRPr sz="1050" b="1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buFontTx/>
              <a:buNone/>
              <a:defRPr sz="1050"/>
            </a:lvl2pPr>
            <a:lvl3pPr marL="113110" indent="-113110">
              <a:defRPr sz="1050"/>
            </a:lvl3pPr>
            <a:lvl4pPr marL="301229" indent="-155972">
              <a:defRPr sz="1050"/>
            </a:lvl4pPr>
            <a:lvl5pPr marL="571486" indent="-171446"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8797789" y="1268759"/>
            <a:ext cx="2479811" cy="3535680"/>
          </a:xfrm>
        </p:spPr>
        <p:txBody>
          <a:bodyPr>
            <a:noAutofit/>
          </a:bodyPr>
          <a:lstStyle>
            <a:lvl1pPr marL="0" indent="0">
              <a:buNone/>
              <a:defRPr sz="1050" b="1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buFontTx/>
              <a:buNone/>
              <a:defRPr sz="1050"/>
            </a:lvl2pPr>
            <a:lvl3pPr marL="113110" indent="-113110">
              <a:defRPr sz="1050"/>
            </a:lvl3pPr>
            <a:lvl4pPr marL="301229" indent="-155972">
              <a:defRPr sz="1050"/>
            </a:lvl4pPr>
            <a:lvl5pPr marL="571486" indent="-171446"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914402" y="4980567"/>
            <a:ext cx="5033119" cy="958851"/>
          </a:xfrm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114297" indent="-114297">
              <a:buFont typeface="Arial" panose="020B0604020202020204" pitchFamily="34" charset="0"/>
              <a:buChar char="•"/>
              <a:defRPr sz="1050"/>
            </a:lvl2pPr>
            <a:lvl3pPr marL="228594" indent="-114297">
              <a:defRPr sz="1050"/>
            </a:lvl3pPr>
            <a:lvl4pPr marL="400040" indent="-171446">
              <a:defRPr sz="1050"/>
            </a:lvl4pPr>
            <a:lvl5pPr marL="571486" indent="-171446"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6257972" y="4980567"/>
            <a:ext cx="5019629" cy="958851"/>
          </a:xfrm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114297" indent="-114297">
              <a:buFont typeface="Arial" panose="020B0604020202020204" pitchFamily="34" charset="0"/>
              <a:buChar char="•"/>
              <a:defRPr sz="1050"/>
            </a:lvl2pPr>
            <a:lvl3pPr marL="228594" indent="-114297">
              <a:defRPr sz="1050"/>
            </a:lvl3pPr>
            <a:lvl4pPr marL="400040" indent="-171446">
              <a:defRPr sz="1050"/>
            </a:lvl4pPr>
            <a:lvl5pPr marL="571486" indent="-171446"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4817207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16A25BE-DA18-48D3-91FD-8070DFB018F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73754" y="661678"/>
            <a:ext cx="5515311" cy="5534647"/>
          </a:xfrm>
          <a:custGeom>
            <a:avLst/>
            <a:gdLst>
              <a:gd name="connsiteX0" fmla="*/ 3773420 w 5515311"/>
              <a:gd name="connsiteY0" fmla="*/ 1221500 h 5534647"/>
              <a:gd name="connsiteX1" fmla="*/ 3956512 w 5515311"/>
              <a:gd name="connsiteY1" fmla="*/ 1260258 h 5534647"/>
              <a:gd name="connsiteX2" fmla="*/ 4202237 w 5515311"/>
              <a:gd name="connsiteY2" fmla="*/ 1879820 h 5534647"/>
              <a:gd name="connsiteX3" fmla="*/ 2746123 w 5515311"/>
              <a:gd name="connsiteY3" fmla="*/ 5250151 h 5534647"/>
              <a:gd name="connsiteX4" fmla="*/ 2126561 w 5515311"/>
              <a:gd name="connsiteY4" fmla="*/ 5495876 h 5534647"/>
              <a:gd name="connsiteX5" fmla="*/ 1880836 w 5515311"/>
              <a:gd name="connsiteY5" fmla="*/ 4876314 h 5534647"/>
              <a:gd name="connsiteX6" fmla="*/ 3336951 w 5515311"/>
              <a:gd name="connsiteY6" fmla="*/ 1505983 h 5534647"/>
              <a:gd name="connsiteX7" fmla="*/ 3773420 w 5515311"/>
              <a:gd name="connsiteY7" fmla="*/ 1221500 h 5534647"/>
              <a:gd name="connsiteX8" fmla="*/ 5047722 w 5515311"/>
              <a:gd name="connsiteY8" fmla="*/ 974777 h 5534647"/>
              <a:gd name="connsiteX9" fmla="*/ 5230814 w 5515311"/>
              <a:gd name="connsiteY9" fmla="*/ 1013535 h 5534647"/>
              <a:gd name="connsiteX10" fmla="*/ 5476539 w 5515311"/>
              <a:gd name="connsiteY10" fmla="*/ 1633096 h 5534647"/>
              <a:gd name="connsiteX11" fmla="*/ 4020425 w 5515311"/>
              <a:gd name="connsiteY11" fmla="*/ 5003429 h 5534647"/>
              <a:gd name="connsiteX12" fmla="*/ 3400863 w 5515311"/>
              <a:gd name="connsiteY12" fmla="*/ 5249153 h 5534647"/>
              <a:gd name="connsiteX13" fmla="*/ 3155139 w 5515311"/>
              <a:gd name="connsiteY13" fmla="*/ 4629592 h 5534647"/>
              <a:gd name="connsiteX14" fmla="*/ 4611253 w 5515311"/>
              <a:gd name="connsiteY14" fmla="*/ 1259260 h 5534647"/>
              <a:gd name="connsiteX15" fmla="*/ 5047722 w 5515311"/>
              <a:gd name="connsiteY15" fmla="*/ 974777 h 5534647"/>
              <a:gd name="connsiteX16" fmla="*/ 1931354 w 5515311"/>
              <a:gd name="connsiteY16" fmla="*/ 79589 h 5534647"/>
              <a:gd name="connsiteX17" fmla="*/ 2114447 w 5515311"/>
              <a:gd name="connsiteY17" fmla="*/ 118347 h 5534647"/>
              <a:gd name="connsiteX18" fmla="*/ 2360171 w 5515311"/>
              <a:gd name="connsiteY18" fmla="*/ 737909 h 5534647"/>
              <a:gd name="connsiteX19" fmla="*/ 904057 w 5515311"/>
              <a:gd name="connsiteY19" fmla="*/ 4108240 h 5534647"/>
              <a:gd name="connsiteX20" fmla="*/ 284496 w 5515311"/>
              <a:gd name="connsiteY20" fmla="*/ 4353965 h 5534647"/>
              <a:gd name="connsiteX21" fmla="*/ 38772 w 5515311"/>
              <a:gd name="connsiteY21" fmla="*/ 3734403 h 5534647"/>
              <a:gd name="connsiteX22" fmla="*/ 1494885 w 5515311"/>
              <a:gd name="connsiteY22" fmla="*/ 364072 h 5534647"/>
              <a:gd name="connsiteX23" fmla="*/ 1931354 w 5515311"/>
              <a:gd name="connsiteY23" fmla="*/ 79589 h 5534647"/>
              <a:gd name="connsiteX24" fmla="*/ 3133441 w 5515311"/>
              <a:gd name="connsiteY24" fmla="*/ 13 h 5534647"/>
              <a:gd name="connsiteX25" fmla="*/ 3316535 w 5515311"/>
              <a:gd name="connsiteY25" fmla="*/ 38771 h 5534647"/>
              <a:gd name="connsiteX26" fmla="*/ 3562259 w 5515311"/>
              <a:gd name="connsiteY26" fmla="*/ 658333 h 5534647"/>
              <a:gd name="connsiteX27" fmla="*/ 2106144 w 5515311"/>
              <a:gd name="connsiteY27" fmla="*/ 4028664 h 5534647"/>
              <a:gd name="connsiteX28" fmla="*/ 1486583 w 5515311"/>
              <a:gd name="connsiteY28" fmla="*/ 4274389 h 5534647"/>
              <a:gd name="connsiteX29" fmla="*/ 1240860 w 5515311"/>
              <a:gd name="connsiteY29" fmla="*/ 3654828 h 5534647"/>
              <a:gd name="connsiteX30" fmla="*/ 2696974 w 5515311"/>
              <a:gd name="connsiteY30" fmla="*/ 284496 h 5534647"/>
              <a:gd name="connsiteX31" fmla="*/ 3133441 w 5515311"/>
              <a:gd name="connsiteY31" fmla="*/ 13 h 5534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5515311" h="5534647">
                <a:moveTo>
                  <a:pt x="3773420" y="1221500"/>
                </a:moveTo>
                <a:cubicBezTo>
                  <a:pt x="3834639" y="1221970"/>
                  <a:pt x="3896777" y="1234451"/>
                  <a:pt x="3956512" y="1260258"/>
                </a:cubicBezTo>
                <a:cubicBezTo>
                  <a:pt x="4195455" y="1363490"/>
                  <a:pt x="4305470" y="1640877"/>
                  <a:pt x="4202237" y="1879820"/>
                </a:cubicBezTo>
                <a:lnTo>
                  <a:pt x="2746123" y="5250151"/>
                </a:lnTo>
                <a:cubicBezTo>
                  <a:pt x="2642890" y="5489094"/>
                  <a:pt x="2365505" y="5599108"/>
                  <a:pt x="2126561" y="5495876"/>
                </a:cubicBezTo>
                <a:cubicBezTo>
                  <a:pt x="1887618" y="5392643"/>
                  <a:pt x="1777604" y="5115257"/>
                  <a:pt x="1880836" y="4876314"/>
                </a:cubicBezTo>
                <a:lnTo>
                  <a:pt x="3336951" y="1505983"/>
                </a:lnTo>
                <a:cubicBezTo>
                  <a:pt x="3414376" y="1326775"/>
                  <a:pt x="3589761" y="1220091"/>
                  <a:pt x="3773420" y="1221500"/>
                </a:cubicBezTo>
                <a:close/>
                <a:moveTo>
                  <a:pt x="5047722" y="974777"/>
                </a:moveTo>
                <a:cubicBezTo>
                  <a:pt x="5108941" y="975247"/>
                  <a:pt x="5171079" y="987727"/>
                  <a:pt x="5230814" y="1013535"/>
                </a:cubicBezTo>
                <a:cubicBezTo>
                  <a:pt x="5469757" y="1116768"/>
                  <a:pt x="5579772" y="1394153"/>
                  <a:pt x="5476539" y="1633096"/>
                </a:cubicBezTo>
                <a:lnTo>
                  <a:pt x="4020425" y="5003429"/>
                </a:lnTo>
                <a:cubicBezTo>
                  <a:pt x="3917193" y="5242371"/>
                  <a:pt x="3639806" y="5352385"/>
                  <a:pt x="3400863" y="5249153"/>
                </a:cubicBezTo>
                <a:cubicBezTo>
                  <a:pt x="3161921" y="5145920"/>
                  <a:pt x="3051907" y="4868534"/>
                  <a:pt x="3155139" y="4629592"/>
                </a:cubicBezTo>
                <a:lnTo>
                  <a:pt x="4611253" y="1259260"/>
                </a:lnTo>
                <a:cubicBezTo>
                  <a:pt x="4688678" y="1080052"/>
                  <a:pt x="4864064" y="973368"/>
                  <a:pt x="5047722" y="974777"/>
                </a:cubicBezTo>
                <a:close/>
                <a:moveTo>
                  <a:pt x="1931354" y="79589"/>
                </a:moveTo>
                <a:cubicBezTo>
                  <a:pt x="1992572" y="80058"/>
                  <a:pt x="2054711" y="92539"/>
                  <a:pt x="2114447" y="118347"/>
                </a:cubicBezTo>
                <a:cubicBezTo>
                  <a:pt x="2353389" y="221579"/>
                  <a:pt x="2463403" y="498966"/>
                  <a:pt x="2360171" y="737909"/>
                </a:cubicBezTo>
                <a:lnTo>
                  <a:pt x="904057" y="4108240"/>
                </a:lnTo>
                <a:cubicBezTo>
                  <a:pt x="800825" y="4347183"/>
                  <a:pt x="523439" y="4457197"/>
                  <a:pt x="284496" y="4353965"/>
                </a:cubicBezTo>
                <a:cubicBezTo>
                  <a:pt x="45553" y="4250733"/>
                  <a:pt x="-64461" y="3973346"/>
                  <a:pt x="38772" y="3734403"/>
                </a:cubicBezTo>
                <a:lnTo>
                  <a:pt x="1494885" y="364072"/>
                </a:lnTo>
                <a:cubicBezTo>
                  <a:pt x="1572309" y="184866"/>
                  <a:pt x="1747695" y="78180"/>
                  <a:pt x="1931354" y="79589"/>
                </a:cubicBezTo>
                <a:close/>
                <a:moveTo>
                  <a:pt x="3133441" y="13"/>
                </a:moveTo>
                <a:cubicBezTo>
                  <a:pt x="3194661" y="483"/>
                  <a:pt x="3256799" y="12963"/>
                  <a:pt x="3316535" y="38771"/>
                </a:cubicBezTo>
                <a:cubicBezTo>
                  <a:pt x="3555478" y="142004"/>
                  <a:pt x="3665491" y="419389"/>
                  <a:pt x="3562259" y="658333"/>
                </a:cubicBezTo>
                <a:lnTo>
                  <a:pt x="2106144" y="4028664"/>
                </a:lnTo>
                <a:cubicBezTo>
                  <a:pt x="2002912" y="4267607"/>
                  <a:pt x="1725525" y="4377621"/>
                  <a:pt x="1486583" y="4274389"/>
                </a:cubicBezTo>
                <a:cubicBezTo>
                  <a:pt x="1247642" y="4171157"/>
                  <a:pt x="1137627" y="3893770"/>
                  <a:pt x="1240860" y="3654828"/>
                </a:cubicBezTo>
                <a:lnTo>
                  <a:pt x="2696974" y="284496"/>
                </a:lnTo>
                <a:cubicBezTo>
                  <a:pt x="2774398" y="105290"/>
                  <a:pt x="2949783" y="-1396"/>
                  <a:pt x="3133441" y="13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99731441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Picture Placeholder 32">
            <a:extLst>
              <a:ext uri="{FF2B5EF4-FFF2-40B4-BE49-F238E27FC236}">
                <a16:creationId xmlns:a16="http://schemas.microsoft.com/office/drawing/2014/main" id="{896B135C-B666-DA41-8485-DC7C327F2D7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597570" y="694483"/>
            <a:ext cx="4514129" cy="4649733"/>
          </a:xfrm>
          <a:custGeom>
            <a:avLst/>
            <a:gdLst>
              <a:gd name="connsiteX0" fmla="*/ 4162279 w 4514129"/>
              <a:gd name="connsiteY0" fmla="*/ 1313485 h 4649733"/>
              <a:gd name="connsiteX1" fmla="*/ 1604669 w 4514129"/>
              <a:gd name="connsiteY1" fmla="*/ 4536107 h 4649733"/>
              <a:gd name="connsiteX2" fmla="*/ 4162279 w 4514129"/>
              <a:gd name="connsiteY2" fmla="*/ 1313485 h 4649733"/>
              <a:gd name="connsiteX3" fmla="*/ 911388 w 4514129"/>
              <a:gd name="connsiteY3" fmla="*/ 1218211 h 4649733"/>
              <a:gd name="connsiteX4" fmla="*/ 1265460 w 4514129"/>
              <a:gd name="connsiteY4" fmla="*/ 1337462 h 4649733"/>
              <a:gd name="connsiteX5" fmla="*/ 1958363 w 4514129"/>
              <a:gd name="connsiteY5" fmla="*/ 2850271 h 4649733"/>
              <a:gd name="connsiteX6" fmla="*/ 1511931 w 4514129"/>
              <a:gd name="connsiteY6" fmla="*/ 4471221 h 4649733"/>
              <a:gd name="connsiteX7" fmla="*/ 1453576 w 4514129"/>
              <a:gd name="connsiteY7" fmla="*/ 4493684 h 4649733"/>
              <a:gd name="connsiteX8" fmla="*/ 256174 w 4514129"/>
              <a:gd name="connsiteY8" fmla="*/ 3472950 h 4649733"/>
              <a:gd name="connsiteX9" fmla="*/ 241435 w 4514129"/>
              <a:gd name="connsiteY9" fmla="*/ 1608836 h 4649733"/>
              <a:gd name="connsiteX10" fmla="*/ 911388 w 4514129"/>
              <a:gd name="connsiteY10" fmla="*/ 1218211 h 4649733"/>
              <a:gd name="connsiteX11" fmla="*/ 2336756 w 4514129"/>
              <a:gd name="connsiteY11" fmla="*/ 3304 h 4649733"/>
              <a:gd name="connsiteX12" fmla="*/ 3865095 w 4514129"/>
              <a:gd name="connsiteY12" fmla="*/ 2183284 h 4649733"/>
              <a:gd name="connsiteX13" fmla="*/ 1531924 w 4514129"/>
              <a:gd name="connsiteY13" fmla="*/ 4517970 h 4649733"/>
              <a:gd name="connsiteX14" fmla="*/ 1781771 w 4514129"/>
              <a:gd name="connsiteY14" fmla="*/ 1385446 h 4649733"/>
              <a:gd name="connsiteX15" fmla="*/ 166208 w 4514129"/>
              <a:gd name="connsiteY15" fmla="*/ 1457499 h 4649733"/>
              <a:gd name="connsiteX16" fmla="*/ 123389 w 4514129"/>
              <a:gd name="connsiteY16" fmla="*/ 1494453 h 4649733"/>
              <a:gd name="connsiteX17" fmla="*/ 336146 w 4514129"/>
              <a:gd name="connsiteY17" fmla="*/ 985229 h 4649733"/>
              <a:gd name="connsiteX18" fmla="*/ 1732744 w 4514129"/>
              <a:gd name="connsiteY18" fmla="*/ 202438 h 4649733"/>
              <a:gd name="connsiteX19" fmla="*/ 2444302 w 4514129"/>
              <a:gd name="connsiteY19" fmla="*/ 700044 h 4649733"/>
              <a:gd name="connsiteX20" fmla="*/ 1609285 w 4514129"/>
              <a:gd name="connsiteY20" fmla="*/ 4477061 h 4649733"/>
              <a:gd name="connsiteX21" fmla="*/ 2119483 w 4514129"/>
              <a:gd name="connsiteY21" fmla="*/ 3797 h 4649733"/>
              <a:gd name="connsiteX22" fmla="*/ 2336756 w 4514129"/>
              <a:gd name="connsiteY22" fmla="*/ 3304 h 46497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4514129" h="4649733">
                <a:moveTo>
                  <a:pt x="4162279" y="1313485"/>
                </a:moveTo>
                <a:cubicBezTo>
                  <a:pt x="5280347" y="2910336"/>
                  <a:pt x="3545114" y="5185358"/>
                  <a:pt x="1604669" y="4536107"/>
                </a:cubicBezTo>
                <a:cubicBezTo>
                  <a:pt x="3037782" y="4376829"/>
                  <a:pt x="4259537" y="2664082"/>
                  <a:pt x="4162279" y="1313485"/>
                </a:cubicBezTo>
                <a:close/>
                <a:moveTo>
                  <a:pt x="911388" y="1218211"/>
                </a:moveTo>
                <a:cubicBezTo>
                  <a:pt x="1032890" y="1221600"/>
                  <a:pt x="1154841" y="1258875"/>
                  <a:pt x="1265460" y="1337462"/>
                </a:cubicBezTo>
                <a:cubicBezTo>
                  <a:pt x="1745446" y="1685431"/>
                  <a:pt x="1959413" y="2284629"/>
                  <a:pt x="1958363" y="2850271"/>
                </a:cubicBezTo>
                <a:cubicBezTo>
                  <a:pt x="1954892" y="3422278"/>
                  <a:pt x="1771424" y="3963666"/>
                  <a:pt x="1511931" y="4471221"/>
                </a:cubicBezTo>
                <a:cubicBezTo>
                  <a:pt x="1498688" y="4499832"/>
                  <a:pt x="1485380" y="4507279"/>
                  <a:pt x="1453576" y="4493684"/>
                </a:cubicBezTo>
                <a:cubicBezTo>
                  <a:pt x="943920" y="4317568"/>
                  <a:pt x="509491" y="3934221"/>
                  <a:pt x="256174" y="3472950"/>
                </a:cubicBezTo>
                <a:cubicBezTo>
                  <a:pt x="-50498" y="2907709"/>
                  <a:pt x="-113119" y="2165240"/>
                  <a:pt x="241435" y="1608836"/>
                </a:cubicBezTo>
                <a:cubicBezTo>
                  <a:pt x="378951" y="1367313"/>
                  <a:pt x="644083" y="1210756"/>
                  <a:pt x="911388" y="1218211"/>
                </a:cubicBezTo>
                <a:close/>
                <a:moveTo>
                  <a:pt x="2336756" y="3304"/>
                </a:moveTo>
                <a:cubicBezTo>
                  <a:pt x="3403018" y="70946"/>
                  <a:pt x="4151795" y="1165691"/>
                  <a:pt x="3865095" y="2183284"/>
                </a:cubicBezTo>
                <a:cubicBezTo>
                  <a:pt x="3605539" y="3222680"/>
                  <a:pt x="2624651" y="4282839"/>
                  <a:pt x="1531924" y="4517970"/>
                </a:cubicBezTo>
                <a:cubicBezTo>
                  <a:pt x="2349496" y="3687565"/>
                  <a:pt x="2518829" y="2314969"/>
                  <a:pt x="1781771" y="1385446"/>
                </a:cubicBezTo>
                <a:cubicBezTo>
                  <a:pt x="1310985" y="749295"/>
                  <a:pt x="601623" y="839578"/>
                  <a:pt x="166208" y="1457499"/>
                </a:cubicBezTo>
                <a:cubicBezTo>
                  <a:pt x="155511" y="1471187"/>
                  <a:pt x="149812" y="1490096"/>
                  <a:pt x="123389" y="1494453"/>
                </a:cubicBezTo>
                <a:cubicBezTo>
                  <a:pt x="136123" y="1304154"/>
                  <a:pt x="254361" y="1151489"/>
                  <a:pt x="336146" y="985229"/>
                </a:cubicBezTo>
                <a:cubicBezTo>
                  <a:pt x="587075" y="486820"/>
                  <a:pt x="1128853" y="38403"/>
                  <a:pt x="1732744" y="202438"/>
                </a:cubicBezTo>
                <a:cubicBezTo>
                  <a:pt x="2030535" y="268188"/>
                  <a:pt x="2263444" y="468899"/>
                  <a:pt x="2444302" y="700044"/>
                </a:cubicBezTo>
                <a:cubicBezTo>
                  <a:pt x="3311283" y="1859137"/>
                  <a:pt x="2762245" y="3694456"/>
                  <a:pt x="1609285" y="4477061"/>
                </a:cubicBezTo>
                <a:cubicBezTo>
                  <a:pt x="3179069" y="3822897"/>
                  <a:pt x="3733900" y="875172"/>
                  <a:pt x="2119483" y="3797"/>
                </a:cubicBezTo>
                <a:cubicBezTo>
                  <a:pt x="2193177" y="-1151"/>
                  <a:pt x="2265672" y="-1206"/>
                  <a:pt x="2336756" y="3304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24516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2D3B573-DD5F-4EAF-9D38-0DEC5649420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28413" y="365097"/>
            <a:ext cx="5731641" cy="5949547"/>
          </a:xfrm>
          <a:custGeom>
            <a:avLst/>
            <a:gdLst>
              <a:gd name="connsiteX0" fmla="*/ 2968474 w 5731641"/>
              <a:gd name="connsiteY0" fmla="*/ 1071 h 5949547"/>
              <a:gd name="connsiteX1" fmla="*/ 3315899 w 5731641"/>
              <a:gd name="connsiteY1" fmla="*/ 138296 h 5949547"/>
              <a:gd name="connsiteX2" fmla="*/ 3530865 w 5731641"/>
              <a:gd name="connsiteY2" fmla="*/ 658576 h 5949547"/>
              <a:gd name="connsiteX3" fmla="*/ 3525100 w 5731641"/>
              <a:gd name="connsiteY3" fmla="*/ 721092 h 5949547"/>
              <a:gd name="connsiteX4" fmla="*/ 3580459 w 5731641"/>
              <a:gd name="connsiteY4" fmla="*/ 690602 h 5949547"/>
              <a:gd name="connsiteX5" fmla="*/ 4275355 w 5731641"/>
              <a:gd name="connsiteY5" fmla="*/ 484175 h 5949547"/>
              <a:gd name="connsiteX6" fmla="*/ 4936423 w 5731641"/>
              <a:gd name="connsiteY6" fmla="*/ 832709 h 5949547"/>
              <a:gd name="connsiteX7" fmla="*/ 5144722 w 5731641"/>
              <a:gd name="connsiteY7" fmla="*/ 1635142 h 5949547"/>
              <a:gd name="connsiteX8" fmla="*/ 5426562 w 5731641"/>
              <a:gd name="connsiteY8" fmla="*/ 2448767 h 5949547"/>
              <a:gd name="connsiteX9" fmla="*/ 5727150 w 5731641"/>
              <a:gd name="connsiteY9" fmla="*/ 3208744 h 5949547"/>
              <a:gd name="connsiteX10" fmla="*/ 5287005 w 5731641"/>
              <a:gd name="connsiteY10" fmla="*/ 4028151 h 5949547"/>
              <a:gd name="connsiteX11" fmla="*/ 4812864 w 5731641"/>
              <a:gd name="connsiteY11" fmla="*/ 3983534 h 5949547"/>
              <a:gd name="connsiteX12" fmla="*/ 4742918 w 5731641"/>
              <a:gd name="connsiteY12" fmla="*/ 3939935 h 5949547"/>
              <a:gd name="connsiteX13" fmla="*/ 4764378 w 5731641"/>
              <a:gd name="connsiteY13" fmla="*/ 4154714 h 5949547"/>
              <a:gd name="connsiteX14" fmla="*/ 4304146 w 5731641"/>
              <a:gd name="connsiteY14" fmla="*/ 5535954 h 5949547"/>
              <a:gd name="connsiteX15" fmla="*/ 3158772 w 5731641"/>
              <a:gd name="connsiteY15" fmla="*/ 5933499 h 5949547"/>
              <a:gd name="connsiteX16" fmla="*/ 2561264 w 5731641"/>
              <a:gd name="connsiteY16" fmla="*/ 5503281 h 5949547"/>
              <a:gd name="connsiteX17" fmla="*/ 2522950 w 5731641"/>
              <a:gd name="connsiteY17" fmla="*/ 5097015 h 5949547"/>
              <a:gd name="connsiteX18" fmla="*/ 2543392 w 5731641"/>
              <a:gd name="connsiteY18" fmla="*/ 4964282 h 5949547"/>
              <a:gd name="connsiteX19" fmla="*/ 2536720 w 5731641"/>
              <a:gd name="connsiteY19" fmla="*/ 4968463 h 5949547"/>
              <a:gd name="connsiteX20" fmla="*/ 1077858 w 5731641"/>
              <a:gd name="connsiteY20" fmla="*/ 5092333 h 5949547"/>
              <a:gd name="connsiteX21" fmla="*/ 151655 w 5731641"/>
              <a:gd name="connsiteY21" fmla="*/ 4469019 h 5949547"/>
              <a:gd name="connsiteX22" fmla="*/ 706817 w 5731641"/>
              <a:gd name="connsiteY22" fmla="*/ 3016011 h 5949547"/>
              <a:gd name="connsiteX23" fmla="*/ 811506 w 5731641"/>
              <a:gd name="connsiteY23" fmla="*/ 2985275 h 5949547"/>
              <a:gd name="connsiteX24" fmla="*/ 887575 w 5731641"/>
              <a:gd name="connsiteY24" fmla="*/ 2969160 h 5949547"/>
              <a:gd name="connsiteX25" fmla="*/ 780929 w 5731641"/>
              <a:gd name="connsiteY25" fmla="*/ 2886964 h 5949547"/>
              <a:gd name="connsiteX26" fmla="*/ 191457 w 5731641"/>
              <a:gd name="connsiteY26" fmla="*/ 1991799 h 5949547"/>
              <a:gd name="connsiteX27" fmla="*/ 464546 w 5731641"/>
              <a:gd name="connsiteY27" fmla="*/ 810550 h 5949547"/>
              <a:gd name="connsiteX28" fmla="*/ 1146790 w 5731641"/>
              <a:gd name="connsiteY28" fmla="*/ 533705 h 5949547"/>
              <a:gd name="connsiteX29" fmla="*/ 1723053 w 5731641"/>
              <a:gd name="connsiteY29" fmla="*/ 905873 h 5949547"/>
              <a:gd name="connsiteX30" fmla="*/ 1825390 w 5731641"/>
              <a:gd name="connsiteY30" fmla="*/ 993612 h 5949547"/>
              <a:gd name="connsiteX31" fmla="*/ 1904546 w 5731641"/>
              <a:gd name="connsiteY31" fmla="*/ 860801 h 5949547"/>
              <a:gd name="connsiteX32" fmla="*/ 2387932 w 5731641"/>
              <a:gd name="connsiteY32" fmla="*/ 201820 h 5949547"/>
              <a:gd name="connsiteX33" fmla="*/ 2968474 w 5731641"/>
              <a:gd name="connsiteY33" fmla="*/ 1071 h 59495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</a:cxnLst>
            <a:rect l="l" t="t" r="r" b="b"/>
            <a:pathLst>
              <a:path w="5731641" h="5949547">
                <a:moveTo>
                  <a:pt x="2968474" y="1071"/>
                </a:moveTo>
                <a:cubicBezTo>
                  <a:pt x="3090416" y="8082"/>
                  <a:pt x="3209838" y="49911"/>
                  <a:pt x="3315899" y="138296"/>
                </a:cubicBezTo>
                <a:cubicBezTo>
                  <a:pt x="3493411" y="286252"/>
                  <a:pt x="3540155" y="465992"/>
                  <a:pt x="3530865" y="658576"/>
                </a:cubicBezTo>
                <a:lnTo>
                  <a:pt x="3525100" y="721092"/>
                </a:lnTo>
                <a:lnTo>
                  <a:pt x="3580459" y="690602"/>
                </a:lnTo>
                <a:cubicBezTo>
                  <a:pt x="3807679" y="570388"/>
                  <a:pt x="4037662" y="478185"/>
                  <a:pt x="4275355" y="484175"/>
                </a:cubicBezTo>
                <a:cubicBezTo>
                  <a:pt x="4540518" y="490839"/>
                  <a:pt x="4792394" y="613458"/>
                  <a:pt x="4936423" y="832709"/>
                </a:cubicBezTo>
                <a:cubicBezTo>
                  <a:pt x="5092473" y="1070293"/>
                  <a:pt x="5105313" y="1362549"/>
                  <a:pt x="5144722" y="1635142"/>
                </a:cubicBezTo>
                <a:cubicBezTo>
                  <a:pt x="5186386" y="1923203"/>
                  <a:pt x="5283025" y="2195691"/>
                  <a:pt x="5426562" y="2448767"/>
                </a:cubicBezTo>
                <a:cubicBezTo>
                  <a:pt x="5561465" y="2686631"/>
                  <a:pt x="5701926" y="2930338"/>
                  <a:pt x="5727150" y="3208744"/>
                </a:cubicBezTo>
                <a:cubicBezTo>
                  <a:pt x="5757445" y="3543536"/>
                  <a:pt x="5637079" y="3914165"/>
                  <a:pt x="5287005" y="4028151"/>
                </a:cubicBezTo>
                <a:cubicBezTo>
                  <a:pt x="5103889" y="4087757"/>
                  <a:pt x="4950422" y="4058735"/>
                  <a:pt x="4812864" y="3983534"/>
                </a:cubicBezTo>
                <a:lnTo>
                  <a:pt x="4742918" y="3939935"/>
                </a:lnTo>
                <a:lnTo>
                  <a:pt x="4764378" y="4154714"/>
                </a:lnTo>
                <a:cubicBezTo>
                  <a:pt x="4788533" y="4655464"/>
                  <a:pt x="4655615" y="5164233"/>
                  <a:pt x="4304146" y="5535954"/>
                </a:cubicBezTo>
                <a:cubicBezTo>
                  <a:pt x="4027362" y="5828675"/>
                  <a:pt x="3557863" y="6005483"/>
                  <a:pt x="3158772" y="5933499"/>
                </a:cubicBezTo>
                <a:cubicBezTo>
                  <a:pt x="2894164" y="5885764"/>
                  <a:pt x="2653197" y="5724061"/>
                  <a:pt x="2561264" y="5503281"/>
                </a:cubicBezTo>
                <a:cubicBezTo>
                  <a:pt x="2506719" y="5372267"/>
                  <a:pt x="2506014" y="5235789"/>
                  <a:pt x="2522950" y="5097015"/>
                </a:cubicBezTo>
                <a:lnTo>
                  <a:pt x="2543392" y="4964282"/>
                </a:lnTo>
                <a:lnTo>
                  <a:pt x="2536720" y="4968463"/>
                </a:lnTo>
                <a:cubicBezTo>
                  <a:pt x="2085255" y="5212849"/>
                  <a:pt x="1566210" y="5250193"/>
                  <a:pt x="1077858" y="5092333"/>
                </a:cubicBezTo>
                <a:cubicBezTo>
                  <a:pt x="722602" y="4977484"/>
                  <a:pt x="356139" y="4794397"/>
                  <a:pt x="151655" y="4469019"/>
                </a:cubicBezTo>
                <a:cubicBezTo>
                  <a:pt x="-202191" y="3905974"/>
                  <a:pt x="95911" y="3222753"/>
                  <a:pt x="706817" y="3016011"/>
                </a:cubicBezTo>
                <a:cubicBezTo>
                  <a:pt x="741360" y="3004322"/>
                  <a:pt x="776278" y="2994118"/>
                  <a:pt x="811506" y="2985275"/>
                </a:cubicBezTo>
                <a:lnTo>
                  <a:pt x="887575" y="2969160"/>
                </a:lnTo>
                <a:lnTo>
                  <a:pt x="780929" y="2886964"/>
                </a:lnTo>
                <a:cubicBezTo>
                  <a:pt x="501100" y="2654669"/>
                  <a:pt x="284510" y="2353027"/>
                  <a:pt x="191457" y="1991799"/>
                </a:cubicBezTo>
                <a:cubicBezTo>
                  <a:pt x="90967" y="1601675"/>
                  <a:pt x="191184" y="1110099"/>
                  <a:pt x="464546" y="810550"/>
                </a:cubicBezTo>
                <a:cubicBezTo>
                  <a:pt x="645798" y="611948"/>
                  <a:pt x="910950" y="494020"/>
                  <a:pt x="1146790" y="533705"/>
                </a:cubicBezTo>
                <a:cubicBezTo>
                  <a:pt x="1380038" y="572965"/>
                  <a:pt x="1546519" y="746920"/>
                  <a:pt x="1723053" y="905873"/>
                </a:cubicBezTo>
                <a:lnTo>
                  <a:pt x="1825390" y="993612"/>
                </a:lnTo>
                <a:lnTo>
                  <a:pt x="1904546" y="860801"/>
                </a:lnTo>
                <a:cubicBezTo>
                  <a:pt x="2034112" y="619988"/>
                  <a:pt x="2165666" y="371360"/>
                  <a:pt x="2387932" y="201820"/>
                </a:cubicBezTo>
                <a:cubicBezTo>
                  <a:pt x="2554996" y="74417"/>
                  <a:pt x="2765237" y="-10614"/>
                  <a:pt x="2968474" y="1071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16968477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CEAE6EFE-EF7F-49ED-9577-F55B6053592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711461" y="842822"/>
            <a:ext cx="6012655" cy="5176295"/>
          </a:xfrm>
          <a:custGeom>
            <a:avLst/>
            <a:gdLst>
              <a:gd name="connsiteX0" fmla="*/ 3314221 w 6012654"/>
              <a:gd name="connsiteY0" fmla="*/ 1 h 5176294"/>
              <a:gd name="connsiteX1" fmla="*/ 3586522 w 6012654"/>
              <a:gd name="connsiteY1" fmla="*/ 36062 h 5176294"/>
              <a:gd name="connsiteX2" fmla="*/ 4031033 w 6012654"/>
              <a:gd name="connsiteY2" fmla="*/ 250509 h 5176294"/>
              <a:gd name="connsiteX3" fmla="*/ 4558916 w 6012654"/>
              <a:gd name="connsiteY3" fmla="*/ 1270148 h 5176294"/>
              <a:gd name="connsiteX4" fmla="*/ 4559649 w 6012654"/>
              <a:gd name="connsiteY4" fmla="*/ 1279987 h 5176294"/>
              <a:gd name="connsiteX5" fmla="*/ 4611411 w 6012654"/>
              <a:gd name="connsiteY5" fmla="*/ 1271114 h 5176294"/>
              <a:gd name="connsiteX6" fmla="*/ 5962096 w 6012654"/>
              <a:gd name="connsiteY6" fmla="*/ 2618945 h 5176294"/>
              <a:gd name="connsiteX7" fmla="*/ 5433378 w 6012654"/>
              <a:gd name="connsiteY7" fmla="*/ 3224940 h 5176294"/>
              <a:gd name="connsiteX8" fmla="*/ 5399312 w 6012654"/>
              <a:gd name="connsiteY8" fmla="*/ 3243619 h 5176294"/>
              <a:gd name="connsiteX9" fmla="*/ 5403099 w 6012654"/>
              <a:gd name="connsiteY9" fmla="*/ 3251143 h 5176294"/>
              <a:gd name="connsiteX10" fmla="*/ 5162359 w 6012654"/>
              <a:gd name="connsiteY10" fmla="*/ 4528154 h 5176294"/>
              <a:gd name="connsiteX11" fmla="*/ 3970187 w 6012654"/>
              <a:gd name="connsiteY11" fmla="*/ 4548050 h 5176294"/>
              <a:gd name="connsiteX12" fmla="*/ 3781833 w 6012654"/>
              <a:gd name="connsiteY12" fmla="*/ 4418492 h 5176294"/>
              <a:gd name="connsiteX13" fmla="*/ 3771609 w 6012654"/>
              <a:gd name="connsiteY13" fmla="*/ 4431386 h 5176294"/>
              <a:gd name="connsiteX14" fmla="*/ 1742285 w 6012654"/>
              <a:gd name="connsiteY14" fmla="*/ 4859926 h 5176294"/>
              <a:gd name="connsiteX15" fmla="*/ 1381112 w 6012654"/>
              <a:gd name="connsiteY15" fmla="*/ 4219326 h 5176294"/>
              <a:gd name="connsiteX16" fmla="*/ 1348948 w 6012654"/>
              <a:gd name="connsiteY16" fmla="*/ 4099128 h 5176294"/>
              <a:gd name="connsiteX17" fmla="*/ 1348262 w 6012654"/>
              <a:gd name="connsiteY17" fmla="*/ 4099240 h 5176294"/>
              <a:gd name="connsiteX18" fmla="*/ 23413 w 6012654"/>
              <a:gd name="connsiteY18" fmla="*/ 2852005 h 5176294"/>
              <a:gd name="connsiteX19" fmla="*/ 644700 w 6012654"/>
              <a:gd name="connsiteY19" fmla="*/ 2103444 h 5176294"/>
              <a:gd name="connsiteX20" fmla="*/ 781785 w 6012654"/>
              <a:gd name="connsiteY20" fmla="*/ 2025615 h 5176294"/>
              <a:gd name="connsiteX21" fmla="*/ 698636 w 6012654"/>
              <a:gd name="connsiteY21" fmla="*/ 1888977 h 5176294"/>
              <a:gd name="connsiteX22" fmla="*/ 989457 w 6012654"/>
              <a:gd name="connsiteY22" fmla="*/ 499720 h 5176294"/>
              <a:gd name="connsiteX23" fmla="*/ 2178800 w 6012654"/>
              <a:gd name="connsiteY23" fmla="*/ 584178 h 5176294"/>
              <a:gd name="connsiteX24" fmla="*/ 2223287 w 6012654"/>
              <a:gd name="connsiteY24" fmla="*/ 620903 h 5176294"/>
              <a:gd name="connsiteX25" fmla="*/ 2307616 w 6012654"/>
              <a:gd name="connsiteY25" fmla="*/ 523723 h 5176294"/>
              <a:gd name="connsiteX26" fmla="*/ 3314221 w 6012654"/>
              <a:gd name="connsiteY26" fmla="*/ 1 h 51762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6012654" h="5176294">
                <a:moveTo>
                  <a:pt x="3314221" y="1"/>
                </a:moveTo>
                <a:cubicBezTo>
                  <a:pt x="3411684" y="172"/>
                  <a:pt x="3502926" y="14093"/>
                  <a:pt x="3586522" y="36062"/>
                </a:cubicBezTo>
                <a:cubicBezTo>
                  <a:pt x="3783218" y="87754"/>
                  <a:pt x="3937581" y="184002"/>
                  <a:pt x="4031033" y="250509"/>
                </a:cubicBezTo>
                <a:cubicBezTo>
                  <a:pt x="4290082" y="434874"/>
                  <a:pt x="4528558" y="953670"/>
                  <a:pt x="4558916" y="1270148"/>
                </a:cubicBezTo>
                <a:lnTo>
                  <a:pt x="4559649" y="1279987"/>
                </a:lnTo>
                <a:lnTo>
                  <a:pt x="4611411" y="1271114"/>
                </a:lnTo>
                <a:cubicBezTo>
                  <a:pt x="5296230" y="1187507"/>
                  <a:pt x="6242481" y="1565070"/>
                  <a:pt x="5962096" y="2618945"/>
                </a:cubicBezTo>
                <a:cubicBezTo>
                  <a:pt x="5894810" y="2871767"/>
                  <a:pt x="5685552" y="3072900"/>
                  <a:pt x="5433378" y="3224940"/>
                </a:cubicBezTo>
                <a:lnTo>
                  <a:pt x="5399312" y="3243619"/>
                </a:lnTo>
                <a:lnTo>
                  <a:pt x="5403099" y="3251143"/>
                </a:lnTo>
                <a:cubicBezTo>
                  <a:pt x="5561430" y="3594561"/>
                  <a:pt x="5622860" y="4160069"/>
                  <a:pt x="5162359" y="4528154"/>
                </a:cubicBezTo>
                <a:cubicBezTo>
                  <a:pt x="4836167" y="4788915"/>
                  <a:pt x="4270065" y="4757085"/>
                  <a:pt x="3970187" y="4548050"/>
                </a:cubicBezTo>
                <a:lnTo>
                  <a:pt x="3781833" y="4418492"/>
                </a:lnTo>
                <a:lnTo>
                  <a:pt x="3771609" y="4431386"/>
                </a:lnTo>
                <a:cubicBezTo>
                  <a:pt x="2788632" y="5621064"/>
                  <a:pt x="2004114" y="5083207"/>
                  <a:pt x="1742285" y="4859926"/>
                </a:cubicBezTo>
                <a:cubicBezTo>
                  <a:pt x="1591079" y="4730978"/>
                  <a:pt x="1459304" y="4472596"/>
                  <a:pt x="1381112" y="4219326"/>
                </a:cubicBezTo>
                <a:lnTo>
                  <a:pt x="1348948" y="4099128"/>
                </a:lnTo>
                <a:lnTo>
                  <a:pt x="1348262" y="4099240"/>
                </a:lnTo>
                <a:cubicBezTo>
                  <a:pt x="687014" y="4177130"/>
                  <a:pt x="-151240" y="3854741"/>
                  <a:pt x="23413" y="2852005"/>
                </a:cubicBezTo>
                <a:cubicBezTo>
                  <a:pt x="77308" y="2542719"/>
                  <a:pt x="341372" y="2289696"/>
                  <a:pt x="644700" y="2103444"/>
                </a:cubicBezTo>
                <a:lnTo>
                  <a:pt x="781785" y="2025615"/>
                </a:lnTo>
                <a:lnTo>
                  <a:pt x="698636" y="1888977"/>
                </a:lnTo>
                <a:cubicBezTo>
                  <a:pt x="523866" y="1562263"/>
                  <a:pt x="428391" y="872742"/>
                  <a:pt x="989457" y="499720"/>
                </a:cubicBezTo>
                <a:cubicBezTo>
                  <a:pt x="1337209" y="268491"/>
                  <a:pt x="1898356" y="349715"/>
                  <a:pt x="2178800" y="584178"/>
                </a:cubicBezTo>
                <a:lnTo>
                  <a:pt x="2223287" y="620903"/>
                </a:lnTo>
                <a:lnTo>
                  <a:pt x="2307616" y="523723"/>
                </a:lnTo>
                <a:cubicBezTo>
                  <a:pt x="2673463" y="122734"/>
                  <a:pt x="3021833" y="-511"/>
                  <a:pt x="3314221" y="1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06374103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A15E647D-101F-4D84-9CD8-820ED1E3D58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913357" y="816771"/>
            <a:ext cx="10365289" cy="5224461"/>
          </a:xfrm>
          <a:custGeom>
            <a:avLst/>
            <a:gdLst>
              <a:gd name="connsiteX0" fmla="*/ 870761 w 10365289"/>
              <a:gd name="connsiteY0" fmla="*/ 0 h 5224461"/>
              <a:gd name="connsiteX1" fmla="*/ 9494528 w 10365289"/>
              <a:gd name="connsiteY1" fmla="*/ 0 h 5224461"/>
              <a:gd name="connsiteX2" fmla="*/ 10365289 w 10365289"/>
              <a:gd name="connsiteY2" fmla="*/ 870761 h 5224461"/>
              <a:gd name="connsiteX3" fmla="*/ 10365289 w 10365289"/>
              <a:gd name="connsiteY3" fmla="*/ 4353700 h 5224461"/>
              <a:gd name="connsiteX4" fmla="*/ 9494528 w 10365289"/>
              <a:gd name="connsiteY4" fmla="*/ 5224461 h 5224461"/>
              <a:gd name="connsiteX5" fmla="*/ 870761 w 10365289"/>
              <a:gd name="connsiteY5" fmla="*/ 5224461 h 5224461"/>
              <a:gd name="connsiteX6" fmla="*/ 0 w 10365289"/>
              <a:gd name="connsiteY6" fmla="*/ 4353700 h 5224461"/>
              <a:gd name="connsiteX7" fmla="*/ 0 w 10365289"/>
              <a:gd name="connsiteY7" fmla="*/ 870761 h 5224461"/>
              <a:gd name="connsiteX8" fmla="*/ 870761 w 10365289"/>
              <a:gd name="connsiteY8" fmla="*/ 0 h 52244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365289" h="5224461">
                <a:moveTo>
                  <a:pt x="870761" y="0"/>
                </a:moveTo>
                <a:lnTo>
                  <a:pt x="9494528" y="0"/>
                </a:lnTo>
                <a:cubicBezTo>
                  <a:pt x="9975436" y="0"/>
                  <a:pt x="10365289" y="389853"/>
                  <a:pt x="10365289" y="870761"/>
                </a:cubicBezTo>
                <a:lnTo>
                  <a:pt x="10365289" y="4353700"/>
                </a:lnTo>
                <a:cubicBezTo>
                  <a:pt x="10365289" y="4834608"/>
                  <a:pt x="9975436" y="5224461"/>
                  <a:pt x="9494528" y="5224461"/>
                </a:cubicBezTo>
                <a:lnTo>
                  <a:pt x="870761" y="5224461"/>
                </a:lnTo>
                <a:cubicBezTo>
                  <a:pt x="389853" y="5224461"/>
                  <a:pt x="0" y="4834608"/>
                  <a:pt x="0" y="4353700"/>
                </a:cubicBezTo>
                <a:lnTo>
                  <a:pt x="0" y="870761"/>
                </a:lnTo>
                <a:cubicBezTo>
                  <a:pt x="0" y="389853"/>
                  <a:pt x="389853" y="0"/>
                  <a:pt x="870761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10175689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D5E3D31A-5130-4427-8EBE-E0012CA037C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" y="2"/>
            <a:ext cx="5467351" cy="5987983"/>
          </a:xfrm>
          <a:custGeom>
            <a:avLst/>
            <a:gdLst>
              <a:gd name="connsiteX0" fmla="*/ 2591876 w 5467350"/>
              <a:gd name="connsiteY0" fmla="*/ 0 h 5987983"/>
              <a:gd name="connsiteX1" fmla="*/ 5169501 w 5467350"/>
              <a:gd name="connsiteY1" fmla="*/ 0 h 5987983"/>
              <a:gd name="connsiteX2" fmla="*/ 5269296 w 5467350"/>
              <a:gd name="connsiteY2" fmla="*/ 272662 h 5987983"/>
              <a:gd name="connsiteX3" fmla="*/ 5467350 w 5467350"/>
              <a:gd name="connsiteY3" fmla="*/ 1582668 h 5987983"/>
              <a:gd name="connsiteX4" fmla="*/ 1062036 w 5467350"/>
              <a:gd name="connsiteY4" fmla="*/ 5987983 h 5987983"/>
              <a:gd name="connsiteX5" fmla="*/ 174210 w 5467350"/>
              <a:gd name="connsiteY5" fmla="*/ 5898483 h 5987983"/>
              <a:gd name="connsiteX6" fmla="*/ 0 w 5467350"/>
              <a:gd name="connsiteY6" fmla="*/ 5858275 h 5987983"/>
              <a:gd name="connsiteX7" fmla="*/ 0 w 5467350"/>
              <a:gd name="connsiteY7" fmla="*/ 3512115 h 5987983"/>
              <a:gd name="connsiteX8" fmla="*/ 12119 w 5467350"/>
              <a:gd name="connsiteY8" fmla="*/ 3519477 h 5987983"/>
              <a:gd name="connsiteX9" fmla="*/ 1062037 w 5467350"/>
              <a:gd name="connsiteY9" fmla="*/ 3785326 h 5987983"/>
              <a:gd name="connsiteX10" fmla="*/ 3264695 w 5467350"/>
              <a:gd name="connsiteY10" fmla="*/ 1582668 h 5987983"/>
              <a:gd name="connsiteX11" fmla="*/ 2619552 w 5467350"/>
              <a:gd name="connsiteY11" fmla="*/ 25153 h 5987983"/>
              <a:gd name="connsiteX12" fmla="*/ 0 w 5467350"/>
              <a:gd name="connsiteY12" fmla="*/ 0 h 5987983"/>
              <a:gd name="connsiteX13" fmla="*/ 2265583 w 5467350"/>
              <a:gd name="connsiteY13" fmla="*/ 0 h 5987983"/>
              <a:gd name="connsiteX14" fmla="*/ 2379406 w 5467350"/>
              <a:gd name="connsiteY14" fmla="*/ 125238 h 5987983"/>
              <a:gd name="connsiteX15" fmla="*/ 2840516 w 5467350"/>
              <a:gd name="connsiteY15" fmla="*/ 1409700 h 5987983"/>
              <a:gd name="connsiteX16" fmla="*/ 821216 w 5467350"/>
              <a:gd name="connsiteY16" fmla="*/ 3429000 h 5987983"/>
              <a:gd name="connsiteX17" fmla="*/ 35213 w 5467350"/>
              <a:gd name="connsiteY17" fmla="*/ 3270314 h 5987983"/>
              <a:gd name="connsiteX18" fmla="*/ 0 w 5467350"/>
              <a:gd name="connsiteY18" fmla="*/ 3253351 h 59879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5467350" h="5987983">
                <a:moveTo>
                  <a:pt x="2591876" y="0"/>
                </a:moveTo>
                <a:lnTo>
                  <a:pt x="5169501" y="0"/>
                </a:lnTo>
                <a:lnTo>
                  <a:pt x="5269296" y="272662"/>
                </a:lnTo>
                <a:cubicBezTo>
                  <a:pt x="5398011" y="686493"/>
                  <a:pt x="5467350" y="1126484"/>
                  <a:pt x="5467350" y="1582668"/>
                </a:cubicBezTo>
                <a:cubicBezTo>
                  <a:pt x="5467350" y="4015657"/>
                  <a:pt x="3495024" y="5987983"/>
                  <a:pt x="1062036" y="5987983"/>
                </a:cubicBezTo>
                <a:cubicBezTo>
                  <a:pt x="757912" y="5987983"/>
                  <a:pt x="460987" y="5957167"/>
                  <a:pt x="174210" y="5898483"/>
                </a:cubicBezTo>
                <a:lnTo>
                  <a:pt x="0" y="5858275"/>
                </a:lnTo>
                <a:lnTo>
                  <a:pt x="0" y="3512115"/>
                </a:lnTo>
                <a:lnTo>
                  <a:pt x="12119" y="3519477"/>
                </a:lnTo>
                <a:cubicBezTo>
                  <a:pt x="324220" y="3689021"/>
                  <a:pt x="681882" y="3785326"/>
                  <a:pt x="1062037" y="3785326"/>
                </a:cubicBezTo>
                <a:cubicBezTo>
                  <a:pt x="2278532" y="3785326"/>
                  <a:pt x="3264695" y="2799163"/>
                  <a:pt x="3264695" y="1582668"/>
                </a:cubicBezTo>
                <a:cubicBezTo>
                  <a:pt x="3264695" y="974421"/>
                  <a:pt x="3018154" y="423757"/>
                  <a:pt x="2619552" y="25153"/>
                </a:cubicBezTo>
                <a:close/>
                <a:moveTo>
                  <a:pt x="0" y="0"/>
                </a:moveTo>
                <a:lnTo>
                  <a:pt x="2265583" y="0"/>
                </a:lnTo>
                <a:lnTo>
                  <a:pt x="2379406" y="125238"/>
                </a:lnTo>
                <a:cubicBezTo>
                  <a:pt x="2667471" y="474292"/>
                  <a:pt x="2840516" y="921787"/>
                  <a:pt x="2840516" y="1409700"/>
                </a:cubicBezTo>
                <a:cubicBezTo>
                  <a:pt x="2840516" y="2524929"/>
                  <a:pt x="1936445" y="3429000"/>
                  <a:pt x="821216" y="3429000"/>
                </a:cubicBezTo>
                <a:cubicBezTo>
                  <a:pt x="542409" y="3429000"/>
                  <a:pt x="276799" y="3372496"/>
                  <a:pt x="35213" y="3270314"/>
                </a:cubicBezTo>
                <a:lnTo>
                  <a:pt x="0" y="3253351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40887364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41DAA578-B1C7-43CE-A16E-7F5916F808E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687989" y="0"/>
            <a:ext cx="5504012" cy="6858000"/>
          </a:xfrm>
          <a:custGeom>
            <a:avLst/>
            <a:gdLst>
              <a:gd name="connsiteX0" fmla="*/ 2856062 w 5504012"/>
              <a:gd name="connsiteY0" fmla="*/ 0 h 6858000"/>
              <a:gd name="connsiteX1" fmla="*/ 5504012 w 5504012"/>
              <a:gd name="connsiteY1" fmla="*/ 0 h 6858000"/>
              <a:gd name="connsiteX2" fmla="*/ 5504012 w 5504012"/>
              <a:gd name="connsiteY2" fmla="*/ 6858000 h 6858000"/>
              <a:gd name="connsiteX3" fmla="*/ 2856062 w 5504012"/>
              <a:gd name="connsiteY3" fmla="*/ 6858000 h 6858000"/>
              <a:gd name="connsiteX4" fmla="*/ 0 w 5504012"/>
              <a:gd name="connsiteY4" fmla="*/ 0 h 6858000"/>
              <a:gd name="connsiteX5" fmla="*/ 2647950 w 5504012"/>
              <a:gd name="connsiteY5" fmla="*/ 0 h 6858000"/>
              <a:gd name="connsiteX6" fmla="*/ 2647950 w 5504012"/>
              <a:gd name="connsiteY6" fmla="*/ 6858000 h 6858000"/>
              <a:gd name="connsiteX7" fmla="*/ 0 w 5504012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504012" h="6858000">
                <a:moveTo>
                  <a:pt x="2856062" y="0"/>
                </a:moveTo>
                <a:lnTo>
                  <a:pt x="5504012" y="0"/>
                </a:lnTo>
                <a:lnTo>
                  <a:pt x="5504012" y="6858000"/>
                </a:lnTo>
                <a:lnTo>
                  <a:pt x="2856062" y="6858000"/>
                </a:lnTo>
                <a:close/>
                <a:moveTo>
                  <a:pt x="0" y="0"/>
                </a:moveTo>
                <a:lnTo>
                  <a:pt x="2647950" y="0"/>
                </a:lnTo>
                <a:lnTo>
                  <a:pt x="2647950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68061493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FB4833CD-5FD2-4DBF-8617-B998B2518D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89610" y="914400"/>
            <a:ext cx="5406391" cy="5029200"/>
          </a:xfrm>
          <a:custGeom>
            <a:avLst/>
            <a:gdLst>
              <a:gd name="connsiteX0" fmla="*/ 3394710 w 5406390"/>
              <a:gd name="connsiteY0" fmla="*/ 0 h 5029200"/>
              <a:gd name="connsiteX1" fmla="*/ 4896932 w 5406390"/>
              <a:gd name="connsiteY1" fmla="*/ 0 h 5029200"/>
              <a:gd name="connsiteX2" fmla="*/ 5406390 w 5406390"/>
              <a:gd name="connsiteY2" fmla="*/ 2514600 h 5029200"/>
              <a:gd name="connsiteX3" fmla="*/ 4896932 w 5406390"/>
              <a:gd name="connsiteY3" fmla="*/ 5029200 h 5029200"/>
              <a:gd name="connsiteX4" fmla="*/ 3394710 w 5406390"/>
              <a:gd name="connsiteY4" fmla="*/ 5029200 h 5029200"/>
              <a:gd name="connsiteX5" fmla="*/ 3904168 w 5406390"/>
              <a:gd name="connsiteY5" fmla="*/ 2514600 h 5029200"/>
              <a:gd name="connsiteX6" fmla="*/ 1697355 w 5406390"/>
              <a:gd name="connsiteY6" fmla="*/ 0 h 5029200"/>
              <a:gd name="connsiteX7" fmla="*/ 3199577 w 5406390"/>
              <a:gd name="connsiteY7" fmla="*/ 0 h 5029200"/>
              <a:gd name="connsiteX8" fmla="*/ 3709035 w 5406390"/>
              <a:gd name="connsiteY8" fmla="*/ 2514600 h 5029200"/>
              <a:gd name="connsiteX9" fmla="*/ 3199577 w 5406390"/>
              <a:gd name="connsiteY9" fmla="*/ 5029200 h 5029200"/>
              <a:gd name="connsiteX10" fmla="*/ 1697355 w 5406390"/>
              <a:gd name="connsiteY10" fmla="*/ 5029200 h 5029200"/>
              <a:gd name="connsiteX11" fmla="*/ 2206813 w 5406390"/>
              <a:gd name="connsiteY11" fmla="*/ 2514600 h 5029200"/>
              <a:gd name="connsiteX12" fmla="*/ 0 w 5406390"/>
              <a:gd name="connsiteY12" fmla="*/ 0 h 5029200"/>
              <a:gd name="connsiteX13" fmla="*/ 1502222 w 5406390"/>
              <a:gd name="connsiteY13" fmla="*/ 0 h 5029200"/>
              <a:gd name="connsiteX14" fmla="*/ 2011680 w 5406390"/>
              <a:gd name="connsiteY14" fmla="*/ 2514600 h 5029200"/>
              <a:gd name="connsiteX15" fmla="*/ 1502222 w 5406390"/>
              <a:gd name="connsiteY15" fmla="*/ 5029200 h 5029200"/>
              <a:gd name="connsiteX16" fmla="*/ 0 w 5406390"/>
              <a:gd name="connsiteY16" fmla="*/ 5029200 h 5029200"/>
              <a:gd name="connsiteX17" fmla="*/ 509458 w 5406390"/>
              <a:gd name="connsiteY17" fmla="*/ 2514600 h 502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5406390" h="5029200">
                <a:moveTo>
                  <a:pt x="3394710" y="0"/>
                </a:moveTo>
                <a:lnTo>
                  <a:pt x="4896932" y="0"/>
                </a:lnTo>
                <a:lnTo>
                  <a:pt x="5406390" y="2514600"/>
                </a:lnTo>
                <a:lnTo>
                  <a:pt x="4896932" y="5029200"/>
                </a:lnTo>
                <a:lnTo>
                  <a:pt x="3394710" y="5029200"/>
                </a:lnTo>
                <a:lnTo>
                  <a:pt x="3904168" y="2514600"/>
                </a:lnTo>
                <a:close/>
                <a:moveTo>
                  <a:pt x="1697355" y="0"/>
                </a:moveTo>
                <a:lnTo>
                  <a:pt x="3199577" y="0"/>
                </a:lnTo>
                <a:lnTo>
                  <a:pt x="3709035" y="2514600"/>
                </a:lnTo>
                <a:lnTo>
                  <a:pt x="3199577" y="5029200"/>
                </a:lnTo>
                <a:lnTo>
                  <a:pt x="1697355" y="5029200"/>
                </a:lnTo>
                <a:lnTo>
                  <a:pt x="2206813" y="2514600"/>
                </a:lnTo>
                <a:close/>
                <a:moveTo>
                  <a:pt x="0" y="0"/>
                </a:moveTo>
                <a:lnTo>
                  <a:pt x="1502222" y="0"/>
                </a:lnTo>
                <a:lnTo>
                  <a:pt x="2011680" y="2514600"/>
                </a:lnTo>
                <a:lnTo>
                  <a:pt x="1502222" y="5029200"/>
                </a:lnTo>
                <a:lnTo>
                  <a:pt x="0" y="5029200"/>
                </a:lnTo>
                <a:lnTo>
                  <a:pt x="509458" y="25146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33390370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14B1742B-B568-431F-B7D5-76B74267C5F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974209" y="420962"/>
            <a:ext cx="5626417" cy="6016079"/>
          </a:xfrm>
          <a:custGeom>
            <a:avLst/>
            <a:gdLst>
              <a:gd name="connsiteX0" fmla="*/ 1062221 w 5626417"/>
              <a:gd name="connsiteY0" fmla="*/ 3901055 h 6016079"/>
              <a:gd name="connsiteX1" fmla="*/ 2953249 w 5626417"/>
              <a:gd name="connsiteY1" fmla="*/ 5406560 h 6016079"/>
              <a:gd name="connsiteX2" fmla="*/ 614228 w 5626417"/>
              <a:gd name="connsiteY2" fmla="*/ 6016079 h 6016079"/>
              <a:gd name="connsiteX3" fmla="*/ 2673387 w 5626417"/>
              <a:gd name="connsiteY3" fmla="*/ 3453984 h 6016079"/>
              <a:gd name="connsiteX4" fmla="*/ 2390487 w 5626417"/>
              <a:gd name="connsiteY4" fmla="*/ 4789586 h 6016079"/>
              <a:gd name="connsiteX5" fmla="*/ 1196335 w 5626417"/>
              <a:gd name="connsiteY5" fmla="*/ 3838885 h 6016079"/>
              <a:gd name="connsiteX6" fmla="*/ 2947070 w 5626417"/>
              <a:gd name="connsiteY6" fmla="*/ 2590236 h 6016079"/>
              <a:gd name="connsiteX7" fmla="*/ 4929936 w 5626417"/>
              <a:gd name="connsiteY7" fmla="*/ 4168857 h 6016079"/>
              <a:gd name="connsiteX8" fmla="*/ 2477320 w 5626417"/>
              <a:gd name="connsiteY8" fmla="*/ 4807978 h 6016079"/>
              <a:gd name="connsiteX9" fmla="*/ 5626417 w 5626417"/>
              <a:gd name="connsiteY9" fmla="*/ 1999140 h 6016079"/>
              <a:gd name="connsiteX10" fmla="*/ 5156667 w 5626417"/>
              <a:gd name="connsiteY10" fmla="*/ 4216882 h 6016079"/>
              <a:gd name="connsiteX11" fmla="*/ 3173800 w 5626417"/>
              <a:gd name="connsiteY11" fmla="*/ 2638261 h 6016079"/>
              <a:gd name="connsiteX12" fmla="*/ 469750 w 5626417"/>
              <a:gd name="connsiteY12" fmla="*/ 1799198 h 6016079"/>
              <a:gd name="connsiteX13" fmla="*/ 2452617 w 5626417"/>
              <a:gd name="connsiteY13" fmla="*/ 3377818 h 6016079"/>
              <a:gd name="connsiteX14" fmla="*/ 0 w 5626417"/>
              <a:gd name="connsiteY14" fmla="*/ 4016940 h 6016079"/>
              <a:gd name="connsiteX15" fmla="*/ 3235930 w 5626417"/>
              <a:gd name="connsiteY15" fmla="*/ 1226494 h 6016079"/>
              <a:gd name="connsiteX16" fmla="*/ 4430083 w 5626417"/>
              <a:gd name="connsiteY16" fmla="*/ 2177195 h 6016079"/>
              <a:gd name="connsiteX17" fmla="*/ 2953030 w 5626417"/>
              <a:gd name="connsiteY17" fmla="*/ 2562095 h 6016079"/>
              <a:gd name="connsiteX18" fmla="*/ 3149098 w 5626417"/>
              <a:gd name="connsiteY18" fmla="*/ 1208101 h 6016079"/>
              <a:gd name="connsiteX19" fmla="*/ 2679348 w 5626417"/>
              <a:gd name="connsiteY19" fmla="*/ 3425843 h 6016079"/>
              <a:gd name="connsiteX20" fmla="*/ 696481 w 5626417"/>
              <a:gd name="connsiteY20" fmla="*/ 1847222 h 6016079"/>
              <a:gd name="connsiteX21" fmla="*/ 5012190 w 5626417"/>
              <a:gd name="connsiteY21" fmla="*/ 0 h 6016079"/>
              <a:gd name="connsiteX22" fmla="*/ 4564197 w 5626417"/>
              <a:gd name="connsiteY22" fmla="*/ 2115025 h 6016079"/>
              <a:gd name="connsiteX23" fmla="*/ 2673169 w 5626417"/>
              <a:gd name="connsiteY23" fmla="*/ 609519 h 60160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5626417" h="6016079">
                <a:moveTo>
                  <a:pt x="1062221" y="3901055"/>
                </a:moveTo>
                <a:lnTo>
                  <a:pt x="2953249" y="5406560"/>
                </a:lnTo>
                <a:lnTo>
                  <a:pt x="614228" y="6016079"/>
                </a:lnTo>
                <a:close/>
                <a:moveTo>
                  <a:pt x="2673387" y="3453984"/>
                </a:moveTo>
                <a:lnTo>
                  <a:pt x="2390487" y="4789586"/>
                </a:lnTo>
                <a:lnTo>
                  <a:pt x="1196335" y="3838885"/>
                </a:lnTo>
                <a:close/>
                <a:moveTo>
                  <a:pt x="2947070" y="2590236"/>
                </a:moveTo>
                <a:lnTo>
                  <a:pt x="4929936" y="4168857"/>
                </a:lnTo>
                <a:lnTo>
                  <a:pt x="2477320" y="4807978"/>
                </a:lnTo>
                <a:close/>
                <a:moveTo>
                  <a:pt x="5626417" y="1999140"/>
                </a:moveTo>
                <a:lnTo>
                  <a:pt x="5156667" y="4216882"/>
                </a:lnTo>
                <a:lnTo>
                  <a:pt x="3173800" y="2638261"/>
                </a:lnTo>
                <a:close/>
                <a:moveTo>
                  <a:pt x="469750" y="1799198"/>
                </a:moveTo>
                <a:lnTo>
                  <a:pt x="2452617" y="3377818"/>
                </a:lnTo>
                <a:lnTo>
                  <a:pt x="0" y="4016940"/>
                </a:lnTo>
                <a:close/>
                <a:moveTo>
                  <a:pt x="3235930" y="1226494"/>
                </a:moveTo>
                <a:lnTo>
                  <a:pt x="4430083" y="2177195"/>
                </a:lnTo>
                <a:lnTo>
                  <a:pt x="2953030" y="2562095"/>
                </a:lnTo>
                <a:close/>
                <a:moveTo>
                  <a:pt x="3149098" y="1208101"/>
                </a:moveTo>
                <a:lnTo>
                  <a:pt x="2679348" y="3425843"/>
                </a:lnTo>
                <a:lnTo>
                  <a:pt x="696481" y="1847222"/>
                </a:lnTo>
                <a:close/>
                <a:moveTo>
                  <a:pt x="5012190" y="0"/>
                </a:moveTo>
                <a:lnTo>
                  <a:pt x="4564197" y="2115025"/>
                </a:lnTo>
                <a:lnTo>
                  <a:pt x="2673169" y="609519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04294055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6CE582C-9695-418D-9DC8-68825E555BD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12192000" cy="3999404"/>
          </a:xfrm>
          <a:custGeom>
            <a:avLst/>
            <a:gdLst>
              <a:gd name="connsiteX0" fmla="*/ 0 w 12192000"/>
              <a:gd name="connsiteY0" fmla="*/ 0 h 3999404"/>
              <a:gd name="connsiteX1" fmla="*/ 12192000 w 12192000"/>
              <a:gd name="connsiteY1" fmla="*/ 0 h 3999404"/>
              <a:gd name="connsiteX2" fmla="*/ 12192000 w 12192000"/>
              <a:gd name="connsiteY2" fmla="*/ 479539 h 3999404"/>
              <a:gd name="connsiteX3" fmla="*/ 12192000 w 12192000"/>
              <a:gd name="connsiteY3" fmla="*/ 1369175 h 3999404"/>
              <a:gd name="connsiteX4" fmla="*/ 12192000 w 12192000"/>
              <a:gd name="connsiteY4" fmla="*/ 2994290 h 3999404"/>
              <a:gd name="connsiteX5" fmla="*/ 12080205 w 12192000"/>
              <a:gd name="connsiteY5" fmla="*/ 3068267 h 3999404"/>
              <a:gd name="connsiteX6" fmla="*/ 11715351 w 12192000"/>
              <a:gd name="connsiteY6" fmla="*/ 3197526 h 3999404"/>
              <a:gd name="connsiteX7" fmla="*/ 9802492 w 12192000"/>
              <a:gd name="connsiteY7" fmla="*/ 2704651 h 3999404"/>
              <a:gd name="connsiteX8" fmla="*/ 7877889 w 12192000"/>
              <a:gd name="connsiteY8" fmla="*/ 2951531 h 3999404"/>
              <a:gd name="connsiteX9" fmla="*/ 6002129 w 12192000"/>
              <a:gd name="connsiteY9" fmla="*/ 3797063 h 3999404"/>
              <a:gd name="connsiteX10" fmla="*/ 4994013 w 12192000"/>
              <a:gd name="connsiteY10" fmla="*/ 3993270 h 3999404"/>
              <a:gd name="connsiteX11" fmla="*/ 2631155 w 12192000"/>
              <a:gd name="connsiteY11" fmla="*/ 2552741 h 3999404"/>
              <a:gd name="connsiteX12" fmla="*/ 1452504 w 12192000"/>
              <a:gd name="connsiteY12" fmla="*/ 2589791 h 3999404"/>
              <a:gd name="connsiteX13" fmla="*/ 276644 w 12192000"/>
              <a:gd name="connsiteY13" fmla="*/ 2582096 h 3999404"/>
              <a:gd name="connsiteX14" fmla="*/ 10695 w 12192000"/>
              <a:gd name="connsiteY14" fmla="*/ 2443589 h 3999404"/>
              <a:gd name="connsiteX15" fmla="*/ 9430 w 12192000"/>
              <a:gd name="connsiteY15" fmla="*/ 2442529 h 3999404"/>
              <a:gd name="connsiteX16" fmla="*/ 0 w 12192000"/>
              <a:gd name="connsiteY16" fmla="*/ 2386412 h 3999404"/>
              <a:gd name="connsiteX17" fmla="*/ 0 w 12192000"/>
              <a:gd name="connsiteY17" fmla="*/ 638160 h 39994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12192000" h="3999404">
                <a:moveTo>
                  <a:pt x="0" y="0"/>
                </a:moveTo>
                <a:lnTo>
                  <a:pt x="12192000" y="0"/>
                </a:lnTo>
                <a:lnTo>
                  <a:pt x="12192000" y="479539"/>
                </a:lnTo>
                <a:lnTo>
                  <a:pt x="12192000" y="1369175"/>
                </a:lnTo>
                <a:lnTo>
                  <a:pt x="12192000" y="2994290"/>
                </a:lnTo>
                <a:lnTo>
                  <a:pt x="12080205" y="3068267"/>
                </a:lnTo>
                <a:cubicBezTo>
                  <a:pt x="11967071" y="3131088"/>
                  <a:pt x="11844310" y="3175773"/>
                  <a:pt x="11715351" y="3197526"/>
                </a:cubicBezTo>
                <a:cubicBezTo>
                  <a:pt x="11058650" y="3308265"/>
                  <a:pt x="10450717" y="2857765"/>
                  <a:pt x="9802492" y="2704651"/>
                </a:cubicBezTo>
                <a:cubicBezTo>
                  <a:pt x="9163505" y="2553723"/>
                  <a:pt x="8471136" y="2696939"/>
                  <a:pt x="7877889" y="2951531"/>
                </a:cubicBezTo>
                <a:cubicBezTo>
                  <a:pt x="7232331" y="3228637"/>
                  <a:pt x="6676062" y="3560183"/>
                  <a:pt x="6002129" y="3797063"/>
                </a:cubicBezTo>
                <a:cubicBezTo>
                  <a:pt x="5676344" y="3911521"/>
                  <a:pt x="5337577" y="4027635"/>
                  <a:pt x="4994013" y="3993270"/>
                </a:cubicBezTo>
                <a:cubicBezTo>
                  <a:pt x="4062585" y="3899897"/>
                  <a:pt x="3537199" y="2787803"/>
                  <a:pt x="2631155" y="2552741"/>
                </a:cubicBezTo>
                <a:cubicBezTo>
                  <a:pt x="2247614" y="2453221"/>
                  <a:pt x="1843325" y="2525035"/>
                  <a:pt x="1452504" y="2589791"/>
                </a:cubicBezTo>
                <a:cubicBezTo>
                  <a:pt x="1061617" y="2654560"/>
                  <a:pt x="651503" y="2710468"/>
                  <a:pt x="276644" y="2582096"/>
                </a:cubicBezTo>
                <a:cubicBezTo>
                  <a:pt x="182945" y="2550002"/>
                  <a:pt x="92555" y="2502657"/>
                  <a:pt x="10695" y="2443589"/>
                </a:cubicBezTo>
                <a:lnTo>
                  <a:pt x="9430" y="2442529"/>
                </a:lnTo>
                <a:lnTo>
                  <a:pt x="0" y="2386412"/>
                </a:lnTo>
                <a:lnTo>
                  <a:pt x="0" y="63816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08595371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5996110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701245" y="257507"/>
            <a:ext cx="10972800" cy="1013460"/>
          </a:xfrm>
          <a:prstGeom prst="rect">
            <a:avLst/>
          </a:prstGeom>
          <a:noFill/>
          <a:effectLst/>
        </p:spPr>
        <p:txBody>
          <a:bodyPr wrap="square" lIns="0" tIns="0" rIns="0" bIns="0" anchor="ctr" anchorCtr="0">
            <a:noAutofit/>
          </a:bodyPr>
          <a:lstStyle>
            <a:lvl1pPr marL="0" indent="0" algn="l" defTabSz="454007">
              <a:lnSpc>
                <a:spcPct val="85000"/>
              </a:lnSpc>
              <a:spcAft>
                <a:spcPts val="0"/>
              </a:spcAft>
              <a:tabLst/>
              <a:defRPr sz="3000" b="1" baseline="0">
                <a:solidFill>
                  <a:schemeClr val="tx1"/>
                </a:solidFill>
                <a:latin typeface="+mj-lt"/>
                <a:cs typeface="Arial"/>
              </a:defRPr>
            </a:lvl1pPr>
          </a:lstStyle>
          <a:p>
            <a:r>
              <a:rPr lang="en-US"/>
              <a:t>Title Goes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701245" y="1460500"/>
            <a:ext cx="10972800" cy="4540250"/>
          </a:xfrm>
          <a:prstGeom prst="rect">
            <a:avLst/>
          </a:prstGeom>
        </p:spPr>
        <p:txBody>
          <a:bodyPr lIns="0"/>
          <a:lstStyle>
            <a:lvl1pPr marL="342886" indent="-342886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SzPct val="75000"/>
              <a:buFont typeface="Wingdings 2" pitchFamily="18" charset="2"/>
              <a:buChar char="Ã"/>
              <a:defRPr sz="2333"/>
            </a:lvl1pPr>
            <a:lvl2pPr>
              <a:lnSpc>
                <a:spcPct val="90000"/>
              </a:lnSpc>
              <a:spcBef>
                <a:spcPts val="500"/>
              </a:spcBef>
              <a:defRPr sz="2000"/>
            </a:lvl2pPr>
            <a:lvl3pPr>
              <a:defRPr sz="2333"/>
            </a:lvl3pPr>
            <a:lvl4pPr>
              <a:defRPr sz="2333"/>
            </a:lvl4pPr>
            <a:lvl5pPr>
              <a:defRPr sz="23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908997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701245" y="257507"/>
            <a:ext cx="10972800" cy="1013460"/>
          </a:xfrm>
          <a:prstGeom prst="rect">
            <a:avLst/>
          </a:prstGeom>
          <a:noFill/>
          <a:effectLst/>
        </p:spPr>
        <p:txBody>
          <a:bodyPr wrap="square" lIns="0" tIns="0" rIns="0" bIns="0" anchor="ctr" anchorCtr="0">
            <a:noAutofit/>
          </a:bodyPr>
          <a:lstStyle>
            <a:lvl1pPr marL="0" indent="0" algn="l" defTabSz="454007">
              <a:lnSpc>
                <a:spcPct val="85000"/>
              </a:lnSpc>
              <a:spcAft>
                <a:spcPts val="0"/>
              </a:spcAft>
              <a:tabLst/>
              <a:defRPr sz="3000" b="1" baseline="0">
                <a:solidFill>
                  <a:schemeClr val="tx1"/>
                </a:solidFill>
                <a:latin typeface="+mj-lt"/>
                <a:cs typeface="Arial"/>
              </a:defRPr>
            </a:lvl1pPr>
          </a:lstStyle>
          <a:p>
            <a:r>
              <a:rPr lang="en-US"/>
              <a:t>Title Goes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701245" y="1920875"/>
            <a:ext cx="10972800" cy="4083522"/>
          </a:xfrm>
          <a:prstGeom prst="rect">
            <a:avLst/>
          </a:prstGeom>
        </p:spPr>
        <p:txBody>
          <a:bodyPr lIns="0"/>
          <a:lstStyle>
            <a:lvl1pPr marL="342886" indent="-342886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SzPct val="75000"/>
              <a:buFont typeface="Wingdings 2" pitchFamily="18" charset="2"/>
              <a:buChar char="Ã"/>
              <a:defRPr sz="2333"/>
            </a:lvl1pPr>
            <a:lvl2pPr>
              <a:lnSpc>
                <a:spcPct val="90000"/>
              </a:lnSpc>
              <a:spcBef>
                <a:spcPts val="500"/>
              </a:spcBef>
              <a:defRPr sz="2000"/>
            </a:lvl2pPr>
            <a:lvl3pPr>
              <a:defRPr sz="2333"/>
            </a:lvl3pPr>
            <a:lvl4pPr>
              <a:defRPr sz="2333"/>
            </a:lvl4pPr>
            <a:lvl5pPr>
              <a:defRPr sz="23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1"/>
          </p:nvPr>
        </p:nvSpPr>
        <p:spPr>
          <a:xfrm>
            <a:off x="701245" y="1285875"/>
            <a:ext cx="10972800" cy="523875"/>
          </a:xfrm>
        </p:spPr>
        <p:txBody>
          <a:bodyPr tIns="0" bIns="0" anchor="b" anchorCtr="0"/>
          <a:lstStyle>
            <a:lvl1pPr marL="0" indent="0">
              <a:lnSpc>
                <a:spcPct val="85000"/>
              </a:lnSpc>
              <a:spcBef>
                <a:spcPts val="1000"/>
              </a:spcBef>
              <a:buNone/>
              <a:defRPr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845050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701245" y="257507"/>
            <a:ext cx="10972800" cy="1013460"/>
          </a:xfrm>
          <a:prstGeom prst="rect">
            <a:avLst/>
          </a:prstGeom>
          <a:noFill/>
          <a:effectLst/>
        </p:spPr>
        <p:txBody>
          <a:bodyPr wrap="square" lIns="0" tIns="0" rIns="0" bIns="0" anchor="ctr" anchorCtr="0">
            <a:noAutofit/>
          </a:bodyPr>
          <a:lstStyle>
            <a:lvl1pPr marL="0" indent="0" algn="l" defTabSz="454007">
              <a:lnSpc>
                <a:spcPct val="85000"/>
              </a:lnSpc>
              <a:spcAft>
                <a:spcPts val="0"/>
              </a:spcAft>
              <a:tabLst/>
              <a:defRPr sz="3000" b="1" baseline="0">
                <a:solidFill>
                  <a:schemeClr val="tx1"/>
                </a:solidFill>
                <a:latin typeface="+mj-lt"/>
                <a:cs typeface="Arial"/>
              </a:defRPr>
            </a:lvl1pPr>
          </a:lstStyle>
          <a:p>
            <a:r>
              <a:rPr lang="en-US"/>
              <a:t>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38347582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701245" y="256192"/>
            <a:ext cx="10972800" cy="1013460"/>
          </a:xfrm>
          <a:prstGeom prst="rect">
            <a:avLst/>
          </a:prstGeom>
          <a:noFill/>
          <a:effectLst/>
        </p:spPr>
        <p:txBody>
          <a:bodyPr wrap="square" lIns="0" tIns="0" rIns="0" bIns="0" anchor="ctr" anchorCtr="0">
            <a:noAutofit/>
          </a:bodyPr>
          <a:lstStyle>
            <a:lvl1pPr marL="0" indent="0" algn="l" defTabSz="454007">
              <a:lnSpc>
                <a:spcPct val="85000"/>
              </a:lnSpc>
              <a:spcAft>
                <a:spcPts val="0"/>
              </a:spcAft>
              <a:tabLst/>
              <a:defRPr sz="3000" b="1" baseline="0">
                <a:solidFill>
                  <a:schemeClr val="tx1"/>
                </a:solidFill>
                <a:latin typeface="+mj-lt"/>
                <a:cs typeface="Arial"/>
              </a:defRPr>
            </a:lvl1pPr>
          </a:lstStyle>
          <a:p>
            <a:r>
              <a:rPr lang="en-US"/>
              <a:t>Title Goes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701244" y="1920875"/>
            <a:ext cx="5334000" cy="4078677"/>
          </a:xfrm>
          <a:prstGeom prst="rect">
            <a:avLst/>
          </a:prstGeom>
        </p:spPr>
        <p:txBody>
          <a:bodyPr lIns="0"/>
          <a:lstStyle>
            <a:lvl1pPr marL="342886" indent="-342886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SzPct val="75000"/>
              <a:buFont typeface="Wingdings 2" pitchFamily="18" charset="2"/>
              <a:buChar char="Ã"/>
              <a:defRPr sz="2333"/>
            </a:lvl1pPr>
            <a:lvl2pPr>
              <a:lnSpc>
                <a:spcPct val="90000"/>
              </a:lnSpc>
              <a:spcBef>
                <a:spcPts val="500"/>
              </a:spcBef>
              <a:defRPr sz="2000"/>
            </a:lvl2pPr>
            <a:lvl3pPr>
              <a:defRPr sz="2333"/>
            </a:lvl3pPr>
            <a:lvl4pPr>
              <a:defRPr sz="2333"/>
            </a:lvl4pPr>
            <a:lvl5pPr>
              <a:defRPr sz="23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1"/>
          </p:nvPr>
        </p:nvSpPr>
        <p:spPr>
          <a:xfrm>
            <a:off x="6340045" y="1920875"/>
            <a:ext cx="5334000" cy="4083753"/>
          </a:xfrm>
          <a:prstGeom prst="rect">
            <a:avLst/>
          </a:prstGeom>
        </p:spPr>
        <p:txBody>
          <a:bodyPr lIns="0"/>
          <a:lstStyle>
            <a:lvl1pPr marL="342886" indent="-342886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SzPct val="75000"/>
              <a:buFont typeface="Wingdings 2" pitchFamily="18" charset="2"/>
              <a:buChar char="Ã"/>
              <a:defRPr sz="2333"/>
            </a:lvl1pPr>
            <a:lvl2pPr>
              <a:lnSpc>
                <a:spcPct val="90000"/>
              </a:lnSpc>
              <a:spcBef>
                <a:spcPts val="500"/>
              </a:spcBef>
              <a:defRPr sz="2000"/>
            </a:lvl2pPr>
            <a:lvl3pPr>
              <a:defRPr sz="2333"/>
            </a:lvl3pPr>
            <a:lvl4pPr>
              <a:defRPr sz="2333"/>
            </a:lvl4pPr>
            <a:lvl5pPr>
              <a:defRPr sz="23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701244" y="1285875"/>
            <a:ext cx="5334000" cy="523875"/>
          </a:xfrm>
        </p:spPr>
        <p:txBody>
          <a:bodyPr tIns="0" bIns="0" anchor="b" anchorCtr="0"/>
          <a:lstStyle>
            <a:lvl1pPr marL="0" indent="0">
              <a:lnSpc>
                <a:spcPct val="85000"/>
              </a:lnSpc>
              <a:spcBef>
                <a:spcPts val="1000"/>
              </a:spcBef>
              <a:buNone/>
              <a:defRPr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6340045" y="1283970"/>
            <a:ext cx="5334000" cy="525780"/>
          </a:xfrm>
        </p:spPr>
        <p:txBody>
          <a:bodyPr tIns="0" bIns="0" anchor="b" anchorCtr="0"/>
          <a:lstStyle>
            <a:lvl1pPr marL="0" indent="0">
              <a:lnSpc>
                <a:spcPct val="85000"/>
              </a:lnSpc>
              <a:buNone/>
              <a:defRPr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04804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645" y="-10474"/>
            <a:ext cx="12216379" cy="6865351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701245" y="517511"/>
            <a:ext cx="2570100" cy="1013460"/>
          </a:xfrm>
          <a:prstGeom prst="rect">
            <a:avLst/>
          </a:prstGeom>
          <a:noFill/>
          <a:effectLst>
            <a:outerShdw blurRad="127000" algn="ctr" rotWithShape="0">
              <a:srgbClr val="000000"/>
            </a:outerShdw>
          </a:effectLst>
        </p:spPr>
        <p:txBody>
          <a:bodyPr wrap="square" lIns="0" tIns="0" rIns="0" bIns="0" anchor="t" anchorCtr="0">
            <a:noAutofit/>
          </a:bodyPr>
          <a:lstStyle>
            <a:lvl1pPr marL="0" indent="0" algn="l" defTabSz="454007">
              <a:lnSpc>
                <a:spcPct val="85000"/>
              </a:lnSpc>
              <a:spcAft>
                <a:spcPts val="0"/>
              </a:spcAft>
              <a:tabLst/>
              <a:defRPr sz="5000" b="1" baseline="0">
                <a:solidFill>
                  <a:schemeClr val="tx2"/>
                </a:solidFill>
                <a:latin typeface="+mj-lt"/>
                <a:cs typeface="Arial"/>
              </a:defRPr>
            </a:lvl1pPr>
          </a:lstStyle>
          <a:p>
            <a:r>
              <a:rPr lang="en-US"/>
              <a:t>Agenda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99009" y="5845789"/>
            <a:ext cx="1828800" cy="777240"/>
          </a:xfrm>
          <a:prstGeom prst="rect">
            <a:avLst/>
          </a:prstGeom>
        </p:spPr>
      </p:pic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 bwMode="gray">
          <a:xfrm>
            <a:off x="3995531" y="1350154"/>
            <a:ext cx="7197985" cy="3129880"/>
          </a:xfrm>
          <a:prstGeom prst="rect">
            <a:avLst/>
          </a:prstGeom>
          <a:effectLst/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1000"/>
              </a:spcBef>
              <a:spcAft>
                <a:spcPts val="1000"/>
              </a:spcAft>
              <a:buClr>
                <a:schemeClr val="bg2"/>
              </a:buClr>
              <a:buSzPct val="75000"/>
              <a:buFont typeface="Wingdings 2" pitchFamily="18" charset="2"/>
              <a:buNone/>
              <a:defRPr sz="2667" b="0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Bef>
                <a:spcPts val="500"/>
              </a:spcBef>
              <a:defRPr sz="2000">
                <a:solidFill>
                  <a:schemeClr val="tx2"/>
                </a:solidFill>
              </a:defRPr>
            </a:lvl2pPr>
            <a:lvl3pPr>
              <a:defRPr sz="2333"/>
            </a:lvl3pPr>
            <a:lvl4pPr>
              <a:defRPr sz="2333"/>
            </a:lvl4pPr>
            <a:lvl5pPr>
              <a:defRPr sz="2333"/>
            </a:lvl5pPr>
          </a:lstStyle>
          <a:p>
            <a:pPr lvl="0"/>
            <a:r>
              <a:rPr lang="en-US"/>
              <a:t>Click to edit Master text style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693170" y="6476473"/>
            <a:ext cx="961947" cy="2286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7182">
              <a:lnSpc>
                <a:spcPct val="90000"/>
              </a:lnSpc>
            </a:pPr>
            <a:fld id="{9484F7A5-6A8F-8446-A111-2677E1911D97}" type="slidenum">
              <a:rPr lang="en-US" sz="1000" b="0" spc="-70" smtClean="0">
                <a:solidFill>
                  <a:schemeClr val="accent4">
                    <a:lumMod val="50000"/>
                  </a:schemeClr>
                </a:solidFill>
              </a:rPr>
              <a:pPr defTabSz="457182">
                <a:lnSpc>
                  <a:spcPct val="90000"/>
                </a:lnSpc>
              </a:pPr>
              <a:t>‹#›</a:t>
            </a:fld>
            <a:endParaRPr lang="en-US" sz="1000" b="0" spc="-70">
              <a:solidFill>
                <a:schemeClr val="accent4">
                  <a:lumMod val="50000"/>
                </a:schemeClr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205867" y="6476473"/>
            <a:ext cx="3209418" cy="228600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pPr>
              <a:spcBef>
                <a:spcPts val="0"/>
              </a:spcBef>
              <a:buFont typeface="Arial"/>
              <a:buNone/>
              <a:defRPr/>
            </a:pPr>
            <a:r>
              <a:rPr lang="en-US" sz="900">
                <a:solidFill>
                  <a:schemeClr val="accent4">
                    <a:lumMod val="50000"/>
                  </a:schemeClr>
                </a:solidFill>
                <a:latin typeface="+mn-lt"/>
                <a:ea typeface="ヒラギノ角ゴ Pro W3" charset="-128"/>
                <a:cs typeface="ヒラギノ角ゴ Pro W3" charset="-128"/>
              </a:rPr>
              <a:t>©</a:t>
            </a:r>
            <a:r>
              <a:rPr lang="en-US" sz="900" baseline="0">
                <a:solidFill>
                  <a:schemeClr val="accent4">
                    <a:lumMod val="50000"/>
                  </a:schemeClr>
                </a:solidFill>
                <a:latin typeface="+mn-lt"/>
                <a:ea typeface="ヒラギノ角ゴ Pro W3" charset="-128"/>
                <a:cs typeface="ヒラギノ角ゴ Pro W3" charset="-128"/>
              </a:rPr>
              <a:t> Hortonworks </a:t>
            </a:r>
            <a:r>
              <a:rPr lang="en-US" sz="900">
                <a:solidFill>
                  <a:schemeClr val="accent4">
                    <a:lumMod val="50000"/>
                  </a:schemeClr>
                </a:solidFill>
                <a:latin typeface="+mn-lt"/>
                <a:ea typeface="ヒラギノ角ゴ Pro W3" charset="-128"/>
                <a:cs typeface="ヒラギノ角ゴ Pro W3" charset="-128"/>
              </a:rPr>
              <a:t>Inc. 2011 – 2016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29926055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701245" y="257507"/>
            <a:ext cx="10972800" cy="1013460"/>
          </a:xfrm>
          <a:prstGeom prst="rect">
            <a:avLst/>
          </a:prstGeom>
          <a:noFill/>
          <a:effectLst/>
        </p:spPr>
        <p:txBody>
          <a:bodyPr wrap="square" lIns="0" tIns="0" rIns="0" bIns="0" anchor="ctr" anchorCtr="0">
            <a:noAutofit/>
          </a:bodyPr>
          <a:lstStyle>
            <a:lvl1pPr marL="0" indent="0" algn="l" defTabSz="454007">
              <a:lnSpc>
                <a:spcPct val="85000"/>
              </a:lnSpc>
              <a:spcAft>
                <a:spcPts val="0"/>
              </a:spcAft>
              <a:tabLst/>
              <a:defRPr sz="3000" b="1" baseline="0">
                <a:solidFill>
                  <a:schemeClr val="tx1"/>
                </a:solidFill>
                <a:latin typeface="+mj-lt"/>
                <a:cs typeface="Arial"/>
              </a:defRPr>
            </a:lvl1pPr>
          </a:lstStyle>
          <a:p>
            <a:r>
              <a:rPr lang="en-US"/>
              <a:t>Title Goes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701244" y="1776025"/>
            <a:ext cx="10972800" cy="444289"/>
          </a:xfrm>
          <a:prstGeom prst="rect">
            <a:avLst/>
          </a:prstGeom>
        </p:spPr>
        <p:txBody>
          <a:bodyPr lIns="0" anchor="b" anchorCtr="0">
            <a:spAutoFit/>
          </a:bodyPr>
          <a:lstStyle>
            <a:lvl1pPr marL="0" indent="0">
              <a:lnSpc>
                <a:spcPct val="85000"/>
              </a:lnSpc>
              <a:spcBef>
                <a:spcPts val="500"/>
              </a:spcBef>
              <a:buClr>
                <a:schemeClr val="accent1"/>
              </a:buClr>
              <a:buSzPct val="75000"/>
              <a:buFont typeface="Wingdings 2" pitchFamily="18" charset="2"/>
              <a:buNone/>
              <a:defRPr sz="2667" b="1" baseline="0">
                <a:solidFill>
                  <a:schemeClr val="accent5"/>
                </a:solidFill>
              </a:defRPr>
            </a:lvl1pPr>
            <a:lvl2pPr>
              <a:lnSpc>
                <a:spcPct val="90000"/>
              </a:lnSpc>
              <a:spcBef>
                <a:spcPts val="500"/>
              </a:spcBef>
              <a:defRPr sz="2000"/>
            </a:lvl2pPr>
            <a:lvl3pPr>
              <a:defRPr sz="2333"/>
            </a:lvl3pPr>
            <a:lvl4pPr>
              <a:defRPr sz="2333"/>
            </a:lvl4pPr>
            <a:lvl5pPr>
              <a:defRPr sz="2333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1"/>
          </p:nvPr>
        </p:nvSpPr>
        <p:spPr>
          <a:xfrm>
            <a:off x="701244" y="2640724"/>
            <a:ext cx="10972800" cy="3297618"/>
          </a:xfrm>
          <a:prstGeom prst="rect">
            <a:avLst/>
          </a:prstGeom>
        </p:spPr>
        <p:txBody>
          <a:bodyPr lIns="0"/>
          <a:lstStyle>
            <a:lvl1pPr marL="342886" indent="-342886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75000"/>
              <a:buFont typeface="Wingdings 2" pitchFamily="18" charset="2"/>
              <a:buChar char="Ã"/>
              <a:defRPr sz="2667"/>
            </a:lvl1pPr>
            <a:lvl2pPr>
              <a:lnSpc>
                <a:spcPct val="90000"/>
              </a:lnSpc>
              <a:spcBef>
                <a:spcPts val="500"/>
              </a:spcBef>
              <a:spcAft>
                <a:spcPts val="1000"/>
              </a:spcAft>
              <a:defRPr sz="2333"/>
            </a:lvl2pPr>
            <a:lvl3pPr>
              <a:defRPr sz="2333"/>
            </a:lvl3pPr>
            <a:lvl4pPr>
              <a:defRPr sz="2333"/>
            </a:lvl4pPr>
            <a:lvl5pPr>
              <a:defRPr sz="23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706710" y="2418473"/>
            <a:ext cx="10959772" cy="0"/>
          </a:xfrm>
          <a:prstGeom prst="line">
            <a:avLst/>
          </a:prstGeom>
          <a:ln w="57150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84933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 preferRelativeResize="0"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6708" y="-12815"/>
            <a:ext cx="12225524" cy="687049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701245" y="1552154"/>
            <a:ext cx="6370320" cy="2260262"/>
          </a:xfrm>
          <a:prstGeom prst="rect">
            <a:avLst/>
          </a:prstGeom>
          <a:noFill/>
          <a:effectLst>
            <a:outerShdw blurRad="127000" algn="ctr" rotWithShape="0">
              <a:srgbClr val="000000"/>
            </a:outerShdw>
          </a:effectLst>
        </p:spPr>
        <p:txBody>
          <a:bodyPr wrap="square" lIns="0" bIns="137160" anchor="b" anchorCtr="0">
            <a:noAutofit/>
          </a:bodyPr>
          <a:lstStyle>
            <a:lvl1pPr marL="0" indent="0" algn="l" defTabSz="454007">
              <a:lnSpc>
                <a:spcPct val="85000"/>
              </a:lnSpc>
              <a:spcAft>
                <a:spcPts val="0"/>
              </a:spcAft>
              <a:tabLst/>
              <a:defRPr sz="5000" b="1" baseline="0">
                <a:solidFill>
                  <a:schemeClr val="tx2"/>
                </a:solidFill>
                <a:latin typeface="+mj-lt"/>
                <a:cs typeface="Arial"/>
              </a:defRPr>
            </a:lvl1pPr>
          </a:lstStyle>
          <a:p>
            <a:r>
              <a:rPr lang="en-US"/>
              <a:t>Title Goes Here</a:t>
            </a:r>
            <a:br>
              <a:rPr lang="en-US"/>
            </a:br>
            <a:r>
              <a:rPr lang="en-US"/>
              <a:t>(Maximum Three Lines)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701245" y="3811682"/>
            <a:ext cx="6370320" cy="961601"/>
          </a:xfrm>
          <a:prstGeom prst="rect">
            <a:avLst/>
          </a:prstGeom>
          <a:effectLst>
            <a:outerShdw blurRad="63500" algn="ctr" rotWithShape="0">
              <a:srgbClr val="000000">
                <a:alpha val="50000"/>
              </a:srgbClr>
            </a:outerShdw>
          </a:effectLst>
        </p:spPr>
        <p:txBody>
          <a:bodyPr lIns="0">
            <a:noAutofit/>
          </a:bodyPr>
          <a:lstStyle>
            <a:lvl1pPr marL="0" indent="0" algn="l">
              <a:lnSpc>
                <a:spcPct val="85000"/>
              </a:lnSpc>
              <a:spcBef>
                <a:spcPts val="167"/>
              </a:spcBef>
              <a:spcAft>
                <a:spcPts val="167"/>
              </a:spcAft>
              <a:buNone/>
              <a:defRPr sz="3000" b="1" baseline="0">
                <a:solidFill>
                  <a:schemeClr val="bg2"/>
                </a:solidFill>
                <a:latin typeface="+mj-lt"/>
                <a:cs typeface="Arial"/>
              </a:defRPr>
            </a:lvl1pPr>
            <a:lvl2pPr marL="4571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Optional Subhead or Speaker Nam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99009" y="5845789"/>
            <a:ext cx="1828800" cy="777240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 bwMode="gray">
          <a:xfrm>
            <a:off x="701245" y="4238625"/>
            <a:ext cx="6370320" cy="1381125"/>
          </a:xfrm>
          <a:effectLst>
            <a:outerShdw blurRad="63500" algn="ctr" rotWithShape="0">
              <a:srgbClr val="000000">
                <a:alpha val="50000"/>
              </a:srgbClr>
            </a:outerShdw>
          </a:effectLst>
        </p:spPr>
        <p:txBody>
          <a:bodyPr>
            <a:normAutofit/>
          </a:bodyPr>
          <a:lstStyle>
            <a:lvl1pPr marL="0" indent="0">
              <a:lnSpc>
                <a:spcPct val="85000"/>
              </a:lnSpc>
              <a:buNone/>
              <a:defRPr sz="3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48476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 preferRelativeResize="0"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6706" y="-4406"/>
            <a:ext cx="12225521" cy="6870488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701245" y="1552154"/>
            <a:ext cx="6370320" cy="2260262"/>
          </a:xfrm>
          <a:prstGeom prst="rect">
            <a:avLst/>
          </a:prstGeom>
          <a:noFill/>
          <a:effectLst/>
        </p:spPr>
        <p:txBody>
          <a:bodyPr wrap="square" lIns="0" bIns="137160" anchor="b" anchorCtr="0">
            <a:noAutofit/>
          </a:bodyPr>
          <a:lstStyle>
            <a:lvl1pPr marL="0" indent="0" algn="l" defTabSz="454007">
              <a:lnSpc>
                <a:spcPct val="85000"/>
              </a:lnSpc>
              <a:spcAft>
                <a:spcPts val="0"/>
              </a:spcAft>
              <a:tabLst/>
              <a:defRPr sz="5000" b="1" baseline="0">
                <a:solidFill>
                  <a:schemeClr val="tx1"/>
                </a:solidFill>
                <a:latin typeface="+mj-lt"/>
                <a:cs typeface="Arial"/>
              </a:defRPr>
            </a:lvl1pPr>
          </a:lstStyle>
          <a:p>
            <a:r>
              <a:rPr lang="en-US"/>
              <a:t>Title Goes Here</a:t>
            </a:r>
            <a:br>
              <a:rPr lang="en-US"/>
            </a:br>
            <a:r>
              <a:rPr lang="en-US"/>
              <a:t>(Maximum Three Lines)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701245" y="3811682"/>
            <a:ext cx="6370320" cy="961601"/>
          </a:xfrm>
          <a:prstGeom prst="rect">
            <a:avLst/>
          </a:prstGeom>
          <a:effectLst/>
        </p:spPr>
        <p:txBody>
          <a:bodyPr lIns="0">
            <a:noAutofit/>
          </a:bodyPr>
          <a:lstStyle>
            <a:lvl1pPr marL="0" indent="0" algn="l">
              <a:lnSpc>
                <a:spcPct val="85000"/>
              </a:lnSpc>
              <a:spcBef>
                <a:spcPts val="167"/>
              </a:spcBef>
              <a:spcAft>
                <a:spcPts val="167"/>
              </a:spcAft>
              <a:buNone/>
              <a:defRPr sz="3000" b="1" baseline="0">
                <a:solidFill>
                  <a:schemeClr val="accent5"/>
                </a:solidFill>
                <a:latin typeface="+mj-lt"/>
                <a:cs typeface="Arial"/>
              </a:defRPr>
            </a:lvl1pPr>
            <a:lvl2pPr marL="4571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Optional Subhead or Speaker Nam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99009" y="5845789"/>
            <a:ext cx="1828800" cy="777240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 bwMode="gray">
          <a:xfrm>
            <a:off x="701245" y="4238625"/>
            <a:ext cx="6370320" cy="1381125"/>
          </a:xfrm>
        </p:spPr>
        <p:txBody>
          <a:bodyPr>
            <a:normAutofit/>
          </a:bodyPr>
          <a:lstStyle>
            <a:lvl1pPr marL="0" indent="0">
              <a:lnSpc>
                <a:spcPct val="85000"/>
              </a:lnSpc>
              <a:buNone/>
              <a:defRPr sz="3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761290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 preferRelativeResize="0"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6706" y="-4406"/>
            <a:ext cx="12225521" cy="6870488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701245" y="1552154"/>
            <a:ext cx="6370320" cy="2260262"/>
          </a:xfrm>
          <a:prstGeom prst="rect">
            <a:avLst/>
          </a:prstGeom>
          <a:noFill/>
          <a:effectLst/>
        </p:spPr>
        <p:txBody>
          <a:bodyPr wrap="square" lIns="0" bIns="137160" anchor="b" anchorCtr="0">
            <a:noAutofit/>
          </a:bodyPr>
          <a:lstStyle>
            <a:lvl1pPr marL="0" indent="0" algn="l" defTabSz="454007">
              <a:lnSpc>
                <a:spcPct val="85000"/>
              </a:lnSpc>
              <a:spcAft>
                <a:spcPts val="0"/>
              </a:spcAft>
              <a:tabLst/>
              <a:defRPr sz="5000" b="1" baseline="0">
                <a:solidFill>
                  <a:schemeClr val="tx1"/>
                </a:solidFill>
                <a:latin typeface="+mj-lt"/>
                <a:cs typeface="Arial"/>
              </a:defRPr>
            </a:lvl1pPr>
          </a:lstStyle>
          <a:p>
            <a:r>
              <a:rPr lang="en-US"/>
              <a:t>Title Goes Here</a:t>
            </a:r>
            <a:br>
              <a:rPr lang="en-US"/>
            </a:br>
            <a:r>
              <a:rPr lang="en-US"/>
              <a:t>(Maximum Three Lines)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701245" y="3811682"/>
            <a:ext cx="6370320" cy="961601"/>
          </a:xfrm>
          <a:prstGeom prst="rect">
            <a:avLst/>
          </a:prstGeom>
          <a:effectLst/>
        </p:spPr>
        <p:txBody>
          <a:bodyPr lIns="0">
            <a:noAutofit/>
          </a:bodyPr>
          <a:lstStyle>
            <a:lvl1pPr marL="0" indent="0" algn="l">
              <a:lnSpc>
                <a:spcPct val="85000"/>
              </a:lnSpc>
              <a:spcBef>
                <a:spcPts val="167"/>
              </a:spcBef>
              <a:spcAft>
                <a:spcPts val="167"/>
              </a:spcAft>
              <a:buNone/>
              <a:defRPr sz="3000" b="1" baseline="0">
                <a:solidFill>
                  <a:schemeClr val="accent5"/>
                </a:solidFill>
                <a:latin typeface="+mj-lt"/>
                <a:cs typeface="Arial"/>
              </a:defRPr>
            </a:lvl1pPr>
            <a:lvl2pPr marL="4571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Optional Subhead or Speaker Nam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99009" y="5845789"/>
            <a:ext cx="1828800" cy="777240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701245" y="4238625"/>
            <a:ext cx="6370320" cy="1381125"/>
          </a:xfrm>
        </p:spPr>
        <p:txBody>
          <a:bodyPr>
            <a:normAutofit/>
          </a:bodyPr>
          <a:lstStyle>
            <a:lvl1pPr marL="0" indent="0">
              <a:lnSpc>
                <a:spcPct val="85000"/>
              </a:lnSpc>
              <a:buNone/>
              <a:defRPr sz="3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71367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CC9EE863-D7C7-450C-889B-96C6B48ED7A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47055" y="497815"/>
            <a:ext cx="5337728" cy="5903047"/>
          </a:xfrm>
          <a:custGeom>
            <a:avLst/>
            <a:gdLst>
              <a:gd name="connsiteX0" fmla="*/ 4126529 w 5337728"/>
              <a:gd name="connsiteY0" fmla="*/ 2651753 h 5903046"/>
              <a:gd name="connsiteX1" fmla="*/ 5337728 w 5337728"/>
              <a:gd name="connsiteY1" fmla="*/ 3862952 h 5903046"/>
              <a:gd name="connsiteX2" fmla="*/ 4803722 w 5337728"/>
              <a:gd name="connsiteY2" fmla="*/ 4867298 h 5903046"/>
              <a:gd name="connsiteX3" fmla="*/ 4715275 w 5337728"/>
              <a:gd name="connsiteY3" fmla="*/ 4921031 h 5903046"/>
              <a:gd name="connsiteX4" fmla="*/ 4770429 w 5337728"/>
              <a:gd name="connsiteY4" fmla="*/ 4965981 h 5903046"/>
              <a:gd name="connsiteX5" fmla="*/ 4826160 w 5337728"/>
              <a:gd name="connsiteY5" fmla="*/ 5041228 h 5903046"/>
              <a:gd name="connsiteX6" fmla="*/ 4704113 w 5337728"/>
              <a:gd name="connsiteY6" fmla="*/ 5638187 h 5903046"/>
              <a:gd name="connsiteX7" fmla="*/ 4483094 w 5337728"/>
              <a:gd name="connsiteY7" fmla="*/ 5699298 h 5903046"/>
              <a:gd name="connsiteX8" fmla="*/ 3893694 w 5337728"/>
              <a:gd name="connsiteY8" fmla="*/ 5667246 h 5903046"/>
              <a:gd name="connsiteX9" fmla="*/ 3072388 w 5337728"/>
              <a:gd name="connsiteY9" fmla="*/ 5901318 h 5903046"/>
              <a:gd name="connsiteX10" fmla="*/ 2629616 w 5337728"/>
              <a:gd name="connsiteY10" fmla="*/ 5454226 h 5903046"/>
              <a:gd name="connsiteX11" fmla="*/ 2551853 w 5337728"/>
              <a:gd name="connsiteY11" fmla="*/ 4922752 h 5903046"/>
              <a:gd name="connsiteX12" fmla="*/ 2553617 w 5337728"/>
              <a:gd name="connsiteY12" fmla="*/ 4900446 h 5903046"/>
              <a:gd name="connsiteX13" fmla="*/ 2589250 w 5337728"/>
              <a:gd name="connsiteY13" fmla="*/ 4153966 h 5903046"/>
              <a:gd name="connsiteX14" fmla="*/ 2145784 w 5337728"/>
              <a:gd name="connsiteY14" fmla="*/ 3477514 h 5903046"/>
              <a:gd name="connsiteX15" fmla="*/ 2574115 w 5337728"/>
              <a:gd name="connsiteY15" fmla="*/ 3218673 h 5903046"/>
              <a:gd name="connsiteX16" fmla="*/ 2990677 w 5337728"/>
              <a:gd name="connsiteY16" fmla="*/ 3359500 h 5903046"/>
              <a:gd name="connsiteX17" fmla="*/ 3019666 w 5337728"/>
              <a:gd name="connsiteY17" fmla="*/ 3372496 h 5903046"/>
              <a:gd name="connsiteX18" fmla="*/ 3061515 w 5337728"/>
              <a:gd name="connsiteY18" fmla="*/ 3285623 h 5903046"/>
              <a:gd name="connsiteX19" fmla="*/ 4126529 w 5337728"/>
              <a:gd name="connsiteY19" fmla="*/ 2651753 h 5903046"/>
              <a:gd name="connsiteX20" fmla="*/ 2072941 w 5337728"/>
              <a:gd name="connsiteY20" fmla="*/ 0 h 5903046"/>
              <a:gd name="connsiteX21" fmla="*/ 3602629 w 5337728"/>
              <a:gd name="connsiteY21" fmla="*/ 1529688 h 5903046"/>
              <a:gd name="connsiteX22" fmla="*/ 2229343 w 5337728"/>
              <a:gd name="connsiteY22" fmla="*/ 3051479 h 5903046"/>
              <a:gd name="connsiteX23" fmla="*/ 2074293 w 5337728"/>
              <a:gd name="connsiteY23" fmla="*/ 3059308 h 5903046"/>
              <a:gd name="connsiteX24" fmla="*/ 2059580 w 5337728"/>
              <a:gd name="connsiteY24" fmla="*/ 3096453 h 5903046"/>
              <a:gd name="connsiteX25" fmla="*/ 2024649 w 5337728"/>
              <a:gd name="connsiteY25" fmla="*/ 3780058 h 5903046"/>
              <a:gd name="connsiteX26" fmla="*/ 2472764 w 5337728"/>
              <a:gd name="connsiteY26" fmla="*/ 4279578 h 5903046"/>
              <a:gd name="connsiteX27" fmla="*/ 2366977 w 5337728"/>
              <a:gd name="connsiteY27" fmla="*/ 4714044 h 5903046"/>
              <a:gd name="connsiteX28" fmla="*/ 1681508 w 5337728"/>
              <a:gd name="connsiteY28" fmla="*/ 4982946 h 5903046"/>
              <a:gd name="connsiteX29" fmla="*/ 763359 w 5337728"/>
              <a:gd name="connsiteY29" fmla="*/ 4270749 h 5903046"/>
              <a:gd name="connsiteX30" fmla="*/ 618500 w 5337728"/>
              <a:gd name="connsiteY30" fmla="*/ 3682044 h 5903046"/>
              <a:gd name="connsiteX31" fmla="*/ 618026 w 5337728"/>
              <a:gd name="connsiteY31" fmla="*/ 3656801 h 5903046"/>
              <a:gd name="connsiteX32" fmla="*/ 577307 w 5337728"/>
              <a:gd name="connsiteY32" fmla="*/ 2814257 h 5903046"/>
              <a:gd name="connsiteX33" fmla="*/ 5858 w 5337728"/>
              <a:gd name="connsiteY33" fmla="*/ 2102208 h 5903046"/>
              <a:gd name="connsiteX34" fmla="*/ 459105 w 5337728"/>
              <a:gd name="connsiteY34" fmla="*/ 1765049 h 5903046"/>
              <a:gd name="connsiteX35" fmla="*/ 563868 w 5337728"/>
              <a:gd name="connsiteY35" fmla="*/ 1769416 h 5903046"/>
              <a:gd name="connsiteX36" fmla="*/ 551151 w 5337728"/>
              <a:gd name="connsiteY36" fmla="*/ 1686090 h 5903046"/>
              <a:gd name="connsiteX37" fmla="*/ 543253 w 5337728"/>
              <a:gd name="connsiteY37" fmla="*/ 1529688 h 5903046"/>
              <a:gd name="connsiteX38" fmla="*/ 2072941 w 5337728"/>
              <a:gd name="connsiteY38" fmla="*/ 0 h 59030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</a:cxnLst>
            <a:rect l="l" t="t" r="r" b="b"/>
            <a:pathLst>
              <a:path w="5337728" h="5903046">
                <a:moveTo>
                  <a:pt x="4126529" y="2651753"/>
                </a:moveTo>
                <a:cubicBezTo>
                  <a:pt x="4795456" y="2651753"/>
                  <a:pt x="5337728" y="3194025"/>
                  <a:pt x="5337728" y="3862952"/>
                </a:cubicBezTo>
                <a:cubicBezTo>
                  <a:pt x="5337728" y="4281032"/>
                  <a:pt x="5125903" y="4649636"/>
                  <a:pt x="4803722" y="4867298"/>
                </a:cubicBezTo>
                <a:lnTo>
                  <a:pt x="4715275" y="4921031"/>
                </a:lnTo>
                <a:lnTo>
                  <a:pt x="4770429" y="4965981"/>
                </a:lnTo>
                <a:cubicBezTo>
                  <a:pt x="4792271" y="4988250"/>
                  <a:pt x="4811212" y="5013126"/>
                  <a:pt x="4826160" y="5041228"/>
                </a:cubicBezTo>
                <a:cubicBezTo>
                  <a:pt x="4914636" y="5207635"/>
                  <a:pt x="4867665" y="5533352"/>
                  <a:pt x="4704113" y="5638187"/>
                </a:cubicBezTo>
                <a:cubicBezTo>
                  <a:pt x="4639011" y="5679921"/>
                  <a:pt x="4560333" y="5695764"/>
                  <a:pt x="4483094" y="5699298"/>
                </a:cubicBezTo>
                <a:cubicBezTo>
                  <a:pt x="4286106" y="5708304"/>
                  <a:pt x="4089359" y="5642815"/>
                  <a:pt x="3893694" y="5667246"/>
                </a:cubicBezTo>
                <a:cubicBezTo>
                  <a:pt x="3608847" y="5702815"/>
                  <a:pt x="3358476" y="5924749"/>
                  <a:pt x="3072388" y="5901318"/>
                </a:cubicBezTo>
                <a:cubicBezTo>
                  <a:pt x="2811979" y="5879990"/>
                  <a:pt x="2713462" y="5675230"/>
                  <a:pt x="2629616" y="5454226"/>
                </a:cubicBezTo>
                <a:cubicBezTo>
                  <a:pt x="2566732" y="5288473"/>
                  <a:pt x="2540845" y="5103189"/>
                  <a:pt x="2551853" y="4922752"/>
                </a:cubicBezTo>
                <a:cubicBezTo>
                  <a:pt x="2552328" y="4915320"/>
                  <a:pt x="2552901" y="4907892"/>
                  <a:pt x="2553617" y="4900446"/>
                </a:cubicBezTo>
                <a:cubicBezTo>
                  <a:pt x="2576345" y="4659739"/>
                  <a:pt x="2732729" y="4388530"/>
                  <a:pt x="2589250" y="4153966"/>
                </a:cubicBezTo>
                <a:cubicBezTo>
                  <a:pt x="2452125" y="3929782"/>
                  <a:pt x="2059224" y="3797585"/>
                  <a:pt x="2145784" y="3477514"/>
                </a:cubicBezTo>
                <a:cubicBezTo>
                  <a:pt x="2197488" y="3286279"/>
                  <a:pt x="2393370" y="3211501"/>
                  <a:pt x="2574115" y="3218673"/>
                </a:cubicBezTo>
                <a:cubicBezTo>
                  <a:pt x="2724390" y="3224653"/>
                  <a:pt x="2859199" y="3293479"/>
                  <a:pt x="2990677" y="3359500"/>
                </a:cubicBezTo>
                <a:lnTo>
                  <a:pt x="3019666" y="3372496"/>
                </a:lnTo>
                <a:lnTo>
                  <a:pt x="3061515" y="3285623"/>
                </a:lnTo>
                <a:cubicBezTo>
                  <a:pt x="3266619" y="2908061"/>
                  <a:pt x="3666642" y="2651753"/>
                  <a:pt x="4126529" y="2651753"/>
                </a:cubicBezTo>
                <a:close/>
                <a:moveTo>
                  <a:pt x="2072941" y="0"/>
                </a:moveTo>
                <a:cubicBezTo>
                  <a:pt x="2917764" y="0"/>
                  <a:pt x="3602629" y="684865"/>
                  <a:pt x="3602629" y="1529688"/>
                </a:cubicBezTo>
                <a:cubicBezTo>
                  <a:pt x="3602629" y="2321710"/>
                  <a:pt x="3000697" y="2973143"/>
                  <a:pt x="2229343" y="3051479"/>
                </a:cubicBezTo>
                <a:lnTo>
                  <a:pt x="2074293" y="3059308"/>
                </a:lnTo>
                <a:lnTo>
                  <a:pt x="2059580" y="3096453"/>
                </a:lnTo>
                <a:cubicBezTo>
                  <a:pt x="1968038" y="3331657"/>
                  <a:pt x="1898226" y="3563972"/>
                  <a:pt x="2024649" y="3780058"/>
                </a:cubicBezTo>
                <a:cubicBezTo>
                  <a:pt x="2139045" y="3975579"/>
                  <a:pt x="2401905" y="4060934"/>
                  <a:pt x="2472764" y="4279578"/>
                </a:cubicBezTo>
                <a:cubicBezTo>
                  <a:pt x="2517537" y="4417751"/>
                  <a:pt x="2470215" y="4587522"/>
                  <a:pt x="2366977" y="4714044"/>
                </a:cubicBezTo>
                <a:cubicBezTo>
                  <a:pt x="2211265" y="4904865"/>
                  <a:pt x="1924815" y="5008700"/>
                  <a:pt x="1681508" y="4982946"/>
                </a:cubicBezTo>
                <a:cubicBezTo>
                  <a:pt x="1269554" y="4939332"/>
                  <a:pt x="940650" y="4629864"/>
                  <a:pt x="763359" y="4270749"/>
                </a:cubicBezTo>
                <a:cubicBezTo>
                  <a:pt x="674783" y="4091322"/>
                  <a:pt x="625635" y="3885945"/>
                  <a:pt x="618500" y="3682044"/>
                </a:cubicBezTo>
                <a:cubicBezTo>
                  <a:pt x="618191" y="3673663"/>
                  <a:pt x="618043" y="3665258"/>
                  <a:pt x="618026" y="3656801"/>
                </a:cubicBezTo>
                <a:cubicBezTo>
                  <a:pt x="617525" y="3383902"/>
                  <a:pt x="763896" y="3062278"/>
                  <a:pt x="577307" y="2814257"/>
                </a:cubicBezTo>
                <a:cubicBezTo>
                  <a:pt x="398981" y="2577225"/>
                  <a:pt x="-56738" y="2471191"/>
                  <a:pt x="5858" y="2102208"/>
                </a:cubicBezTo>
                <a:cubicBezTo>
                  <a:pt x="43275" y="1881765"/>
                  <a:pt x="255271" y="1776557"/>
                  <a:pt x="459105" y="1765049"/>
                </a:cubicBezTo>
                <a:lnTo>
                  <a:pt x="563868" y="1769416"/>
                </a:lnTo>
                <a:lnTo>
                  <a:pt x="551151" y="1686090"/>
                </a:lnTo>
                <a:cubicBezTo>
                  <a:pt x="545928" y="1634666"/>
                  <a:pt x="543253" y="1582490"/>
                  <a:pt x="543253" y="1529688"/>
                </a:cubicBezTo>
                <a:cubicBezTo>
                  <a:pt x="543253" y="684865"/>
                  <a:pt x="1228118" y="0"/>
                  <a:pt x="2072941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59569349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033"/>
            <a:ext cx="12205138" cy="6859033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0" y="1412875"/>
            <a:ext cx="6413500" cy="3937000"/>
          </a:xfrm>
          <a:prstGeom prst="rect">
            <a:avLst/>
          </a:prstGeom>
          <a:gradFill>
            <a:gsLst>
              <a:gs pos="7000">
                <a:schemeClr val="tx1">
                  <a:alpha val="50000"/>
                </a:schemeClr>
              </a:gs>
              <a:gs pos="100000">
                <a:schemeClr val="tx1">
                  <a:alpha val="0"/>
                </a:schemeClr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76200" bIns="76200" rtlCol="0" anchor="t" anchorCtr="0"/>
          <a:lstStyle/>
          <a:p>
            <a:pPr algn="l"/>
            <a:endParaRPr lang="en-US" sz="1500">
              <a:solidFill>
                <a:schemeClr val="bg2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701245" y="1552154"/>
            <a:ext cx="6370320" cy="2260262"/>
          </a:xfrm>
          <a:prstGeom prst="rect">
            <a:avLst/>
          </a:prstGeom>
          <a:noFill/>
          <a:effectLst>
            <a:outerShdw blurRad="127000" algn="ctr" rotWithShape="0">
              <a:srgbClr val="000000"/>
            </a:outerShdw>
          </a:effectLst>
        </p:spPr>
        <p:txBody>
          <a:bodyPr wrap="square" lIns="0" bIns="137160" anchor="b" anchorCtr="0">
            <a:noAutofit/>
          </a:bodyPr>
          <a:lstStyle>
            <a:lvl1pPr marL="0" indent="0" algn="l" defTabSz="454007">
              <a:lnSpc>
                <a:spcPct val="85000"/>
              </a:lnSpc>
              <a:spcAft>
                <a:spcPts val="0"/>
              </a:spcAft>
              <a:tabLst/>
              <a:defRPr sz="5000" b="1" baseline="0">
                <a:solidFill>
                  <a:schemeClr val="tx2"/>
                </a:solidFill>
                <a:latin typeface="+mj-lt"/>
                <a:cs typeface="Arial"/>
              </a:defRPr>
            </a:lvl1pPr>
          </a:lstStyle>
          <a:p>
            <a:r>
              <a:rPr lang="en-US"/>
              <a:t>Title Goes Here</a:t>
            </a:r>
            <a:br>
              <a:rPr lang="en-US"/>
            </a:br>
            <a:r>
              <a:rPr lang="en-US"/>
              <a:t>(Maximum Three Lines)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701245" y="3811682"/>
            <a:ext cx="6370320" cy="961601"/>
          </a:xfrm>
          <a:prstGeom prst="rect">
            <a:avLst/>
          </a:prstGeom>
          <a:effectLst>
            <a:outerShdw blurRad="63500" algn="ctr" rotWithShape="0">
              <a:srgbClr val="000000">
                <a:alpha val="50000"/>
              </a:srgbClr>
            </a:outerShdw>
          </a:effectLst>
        </p:spPr>
        <p:txBody>
          <a:bodyPr lIns="0">
            <a:noAutofit/>
          </a:bodyPr>
          <a:lstStyle>
            <a:lvl1pPr marL="0" indent="0" algn="l">
              <a:lnSpc>
                <a:spcPct val="85000"/>
              </a:lnSpc>
              <a:spcBef>
                <a:spcPts val="167"/>
              </a:spcBef>
              <a:spcAft>
                <a:spcPts val="167"/>
              </a:spcAft>
              <a:buNone/>
              <a:defRPr sz="3000" b="1" baseline="0">
                <a:solidFill>
                  <a:schemeClr val="bg2"/>
                </a:solidFill>
                <a:latin typeface="+mj-lt"/>
                <a:cs typeface="Arial"/>
              </a:defRPr>
            </a:lvl1pPr>
            <a:lvl2pPr marL="4571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Optional Subhead or Speaker Nam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99009" y="5845789"/>
            <a:ext cx="1828800" cy="777240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 bwMode="gray">
          <a:xfrm>
            <a:off x="701245" y="4238625"/>
            <a:ext cx="6370320" cy="1381125"/>
          </a:xfrm>
        </p:spPr>
        <p:txBody>
          <a:bodyPr>
            <a:normAutofit/>
          </a:bodyPr>
          <a:lstStyle>
            <a:lvl1pPr marL="0" indent="0">
              <a:lnSpc>
                <a:spcPct val="85000"/>
              </a:lnSpc>
              <a:buNone/>
              <a:defRPr sz="3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11606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ize Photo Title">
    <p:bg>
      <p:bgPr>
        <a:solidFill>
          <a:schemeClr val="accent4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8" y="1185"/>
            <a:ext cx="12189895" cy="6856816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033"/>
            <a:ext cx="12205138" cy="6859033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0" y="1412875"/>
            <a:ext cx="6413500" cy="3937000"/>
          </a:xfrm>
          <a:prstGeom prst="rect">
            <a:avLst/>
          </a:prstGeom>
          <a:gradFill>
            <a:gsLst>
              <a:gs pos="7000">
                <a:schemeClr val="tx1">
                  <a:alpha val="50000"/>
                </a:schemeClr>
              </a:gs>
              <a:gs pos="100000">
                <a:schemeClr val="tx1">
                  <a:alpha val="0"/>
                </a:schemeClr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76200" bIns="76200" rtlCol="0" anchor="t" anchorCtr="0"/>
          <a:lstStyle/>
          <a:p>
            <a:pPr algn="l"/>
            <a:endParaRPr lang="en-US" sz="1500">
              <a:solidFill>
                <a:schemeClr val="bg2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701245" y="1552154"/>
            <a:ext cx="6370320" cy="2260262"/>
          </a:xfrm>
          <a:prstGeom prst="rect">
            <a:avLst/>
          </a:prstGeom>
          <a:noFill/>
          <a:effectLst>
            <a:outerShdw blurRad="127000" algn="ctr" rotWithShape="0">
              <a:srgbClr val="000000"/>
            </a:outerShdw>
          </a:effectLst>
        </p:spPr>
        <p:txBody>
          <a:bodyPr wrap="square" lIns="0" bIns="137160" anchor="b" anchorCtr="0">
            <a:noAutofit/>
          </a:bodyPr>
          <a:lstStyle>
            <a:lvl1pPr marL="0" indent="0" algn="l" defTabSz="454007">
              <a:lnSpc>
                <a:spcPct val="85000"/>
              </a:lnSpc>
              <a:spcAft>
                <a:spcPts val="0"/>
              </a:spcAft>
              <a:tabLst/>
              <a:defRPr sz="5000" b="1" baseline="0">
                <a:solidFill>
                  <a:schemeClr val="tx2"/>
                </a:solidFill>
                <a:latin typeface="+mj-lt"/>
                <a:cs typeface="Arial"/>
              </a:defRPr>
            </a:lvl1pPr>
          </a:lstStyle>
          <a:p>
            <a:r>
              <a:rPr lang="en-US"/>
              <a:t>Title Goes Here</a:t>
            </a:r>
            <a:br>
              <a:rPr lang="en-US"/>
            </a:br>
            <a:r>
              <a:rPr lang="en-US"/>
              <a:t>(Maximum Three Lines)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701245" y="3811682"/>
            <a:ext cx="6370320" cy="961601"/>
          </a:xfrm>
          <a:prstGeom prst="rect">
            <a:avLst/>
          </a:prstGeom>
          <a:effectLst>
            <a:outerShdw blurRad="63500" algn="ctr" rotWithShape="0">
              <a:srgbClr val="000000">
                <a:alpha val="50000"/>
              </a:srgbClr>
            </a:outerShdw>
          </a:effectLst>
        </p:spPr>
        <p:txBody>
          <a:bodyPr lIns="0">
            <a:noAutofit/>
          </a:bodyPr>
          <a:lstStyle>
            <a:lvl1pPr marL="0" indent="0" algn="l">
              <a:lnSpc>
                <a:spcPct val="85000"/>
              </a:lnSpc>
              <a:spcBef>
                <a:spcPts val="167"/>
              </a:spcBef>
              <a:spcAft>
                <a:spcPts val="167"/>
              </a:spcAft>
              <a:buNone/>
              <a:defRPr sz="3000" b="1" baseline="0">
                <a:solidFill>
                  <a:schemeClr val="bg2"/>
                </a:solidFill>
                <a:latin typeface="+mj-lt"/>
                <a:cs typeface="Arial"/>
              </a:defRPr>
            </a:lvl1pPr>
            <a:lvl2pPr marL="4571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Optional Subhead or Speaker Nam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99009" y="5845789"/>
            <a:ext cx="1828800" cy="777240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 bwMode="gray">
          <a:xfrm>
            <a:off x="701245" y="4238625"/>
            <a:ext cx="6370320" cy="1381125"/>
          </a:xfrm>
        </p:spPr>
        <p:txBody>
          <a:bodyPr>
            <a:normAutofit/>
          </a:bodyPr>
          <a:lstStyle>
            <a:lvl1pPr marL="0" indent="0">
              <a:lnSpc>
                <a:spcPct val="85000"/>
              </a:lnSpc>
              <a:buNone/>
              <a:defRPr sz="3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69569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646" y="-10474"/>
            <a:ext cx="12216381" cy="6865351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701244" y="499242"/>
            <a:ext cx="10995660" cy="2714554"/>
          </a:xfrm>
          <a:prstGeom prst="rect">
            <a:avLst/>
          </a:prstGeom>
          <a:noFill/>
          <a:ln>
            <a:noFill/>
          </a:ln>
          <a:effectLst>
            <a:outerShdw blurRad="127000" algn="ctr" rotWithShape="0">
              <a:srgbClr val="000000"/>
            </a:outerShdw>
          </a:effectLst>
        </p:spPr>
        <p:txBody>
          <a:bodyPr wrap="square" lIns="0" bIns="137160" anchor="b" anchorCtr="0">
            <a:noAutofit/>
          </a:bodyPr>
          <a:lstStyle>
            <a:lvl1pPr marL="0" indent="0" algn="l" defTabSz="454007">
              <a:lnSpc>
                <a:spcPct val="85000"/>
              </a:lnSpc>
              <a:spcAft>
                <a:spcPts val="0"/>
              </a:spcAft>
              <a:tabLst/>
              <a:defRPr sz="5000" b="1" baseline="0">
                <a:solidFill>
                  <a:schemeClr val="tx2"/>
                </a:solidFill>
                <a:latin typeface="+mj-lt"/>
                <a:cs typeface="Arial"/>
              </a:defRPr>
            </a:lvl1pPr>
          </a:lstStyle>
          <a:p>
            <a:r>
              <a:rPr lang="en-US"/>
              <a:t>Section Divider Title Goes Her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74597" y="6122251"/>
            <a:ext cx="1328382" cy="564562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693170" y="6476473"/>
            <a:ext cx="961947" cy="2286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7182">
              <a:lnSpc>
                <a:spcPct val="90000"/>
              </a:lnSpc>
            </a:pPr>
            <a:fld id="{9484F7A5-6A8F-8446-A111-2677E1911D97}" type="slidenum">
              <a:rPr lang="en-US" sz="1000" b="0" spc="-70" smtClean="0">
                <a:solidFill>
                  <a:schemeClr val="accent4">
                    <a:lumMod val="50000"/>
                  </a:schemeClr>
                </a:solidFill>
              </a:rPr>
              <a:pPr defTabSz="457182">
                <a:lnSpc>
                  <a:spcPct val="90000"/>
                </a:lnSpc>
              </a:pPr>
              <a:t>‹#›</a:t>
            </a:fld>
            <a:endParaRPr lang="en-US" sz="1000" b="0" spc="-70">
              <a:solidFill>
                <a:schemeClr val="accent4">
                  <a:lumMod val="50000"/>
                </a:schemeClr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205867" y="6476473"/>
            <a:ext cx="3209418" cy="228600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pPr>
              <a:spcBef>
                <a:spcPts val="0"/>
              </a:spcBef>
              <a:buFont typeface="Arial"/>
              <a:buNone/>
              <a:defRPr/>
            </a:pPr>
            <a:r>
              <a:rPr lang="en-US" sz="900">
                <a:solidFill>
                  <a:schemeClr val="accent4">
                    <a:lumMod val="50000"/>
                  </a:schemeClr>
                </a:solidFill>
                <a:latin typeface="+mn-lt"/>
                <a:ea typeface="ヒラギノ角ゴ Pro W3" charset="-128"/>
                <a:cs typeface="ヒラギノ角ゴ Pro W3" charset="-128"/>
              </a:rPr>
              <a:t>©</a:t>
            </a:r>
            <a:r>
              <a:rPr lang="en-US" sz="900" baseline="0">
                <a:solidFill>
                  <a:schemeClr val="accent4">
                    <a:lumMod val="50000"/>
                  </a:schemeClr>
                </a:solidFill>
                <a:latin typeface="+mn-lt"/>
                <a:ea typeface="ヒラギノ角ゴ Pro W3" charset="-128"/>
                <a:cs typeface="ヒラギノ角ゴ Pro W3" charset="-128"/>
              </a:rPr>
              <a:t> Hortonworks </a:t>
            </a:r>
            <a:r>
              <a:rPr lang="en-US" sz="900">
                <a:solidFill>
                  <a:schemeClr val="accent4">
                    <a:lumMod val="50000"/>
                  </a:schemeClr>
                </a:solidFill>
                <a:latin typeface="+mn-lt"/>
                <a:ea typeface="ヒラギノ角ゴ Pro W3" charset="-128"/>
                <a:cs typeface="ヒラギノ角ゴ Pro W3" charset="-128"/>
              </a:rPr>
              <a:t>Inc. 2011 – 2016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2883516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y 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645" y="-10474"/>
            <a:ext cx="12216379" cy="6865351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701244" y="501076"/>
            <a:ext cx="10995660" cy="2712720"/>
          </a:xfrm>
          <a:prstGeom prst="rect">
            <a:avLst/>
          </a:prstGeom>
          <a:noFill/>
          <a:effectLst/>
        </p:spPr>
        <p:txBody>
          <a:bodyPr wrap="square" lIns="0" bIns="137160" anchor="b" anchorCtr="0">
            <a:noAutofit/>
          </a:bodyPr>
          <a:lstStyle>
            <a:lvl1pPr marL="0" indent="0" algn="l" defTabSz="454007">
              <a:lnSpc>
                <a:spcPct val="85000"/>
              </a:lnSpc>
              <a:spcAft>
                <a:spcPts val="0"/>
              </a:spcAft>
              <a:tabLst/>
              <a:defRPr sz="5000" b="1" baseline="0">
                <a:solidFill>
                  <a:schemeClr val="tx1"/>
                </a:solidFill>
                <a:latin typeface="+mj-lt"/>
                <a:cs typeface="Arial"/>
              </a:defRPr>
            </a:lvl1pPr>
          </a:lstStyle>
          <a:p>
            <a:r>
              <a:rPr lang="en-US"/>
              <a:t>Section Divider Title Goes Her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74597" y="6122251"/>
            <a:ext cx="1328382" cy="564562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693170" y="6476473"/>
            <a:ext cx="961947" cy="2286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7182">
              <a:lnSpc>
                <a:spcPct val="90000"/>
              </a:lnSpc>
            </a:pPr>
            <a:fld id="{9484F7A5-6A8F-8446-A111-2677E1911D97}" type="slidenum">
              <a:rPr lang="en-US" sz="1000" b="0" spc="-70" smtClean="0">
                <a:solidFill>
                  <a:schemeClr val="accent4">
                    <a:lumMod val="50000"/>
                  </a:schemeClr>
                </a:solidFill>
              </a:rPr>
              <a:pPr defTabSz="457182">
                <a:lnSpc>
                  <a:spcPct val="90000"/>
                </a:lnSpc>
              </a:pPr>
              <a:t>‹#›</a:t>
            </a:fld>
            <a:endParaRPr lang="en-US" sz="1000" b="0" spc="-70">
              <a:solidFill>
                <a:schemeClr val="accent4">
                  <a:lumMod val="50000"/>
                </a:schemeClr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205867" y="6476473"/>
            <a:ext cx="3209418" cy="228600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pPr>
              <a:spcBef>
                <a:spcPts val="0"/>
              </a:spcBef>
              <a:buFont typeface="Arial"/>
              <a:buNone/>
              <a:defRPr/>
            </a:pPr>
            <a:r>
              <a:rPr lang="en-US" sz="900">
                <a:solidFill>
                  <a:schemeClr val="accent4">
                    <a:lumMod val="50000"/>
                  </a:schemeClr>
                </a:solidFill>
                <a:latin typeface="+mn-lt"/>
                <a:ea typeface="ヒラギノ角ゴ Pro W3" charset="-128"/>
                <a:cs typeface="ヒラギノ角ゴ Pro W3" charset="-128"/>
              </a:rPr>
              <a:t>©</a:t>
            </a:r>
            <a:r>
              <a:rPr lang="en-US" sz="900" baseline="0">
                <a:solidFill>
                  <a:schemeClr val="accent4">
                    <a:lumMod val="50000"/>
                  </a:schemeClr>
                </a:solidFill>
                <a:latin typeface="+mn-lt"/>
                <a:ea typeface="ヒラギノ角ゴ Pro W3" charset="-128"/>
                <a:cs typeface="ヒラギノ角ゴ Pro W3" charset="-128"/>
              </a:rPr>
              <a:t> Hortonworks </a:t>
            </a:r>
            <a:r>
              <a:rPr lang="en-US" sz="900">
                <a:solidFill>
                  <a:schemeClr val="accent4">
                    <a:lumMod val="50000"/>
                  </a:schemeClr>
                </a:solidFill>
                <a:latin typeface="+mn-lt"/>
                <a:ea typeface="ヒラギノ角ゴ Pro W3" charset="-128"/>
                <a:cs typeface="ヒラギノ角ゴ Pro W3" charset="-128"/>
              </a:rPr>
              <a:t>Inc. 2011 – 2016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9667432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646" y="-10474"/>
            <a:ext cx="12216381" cy="6865351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701244" y="499242"/>
            <a:ext cx="10995660" cy="2714554"/>
          </a:xfrm>
          <a:prstGeom prst="rect">
            <a:avLst/>
          </a:prstGeom>
          <a:noFill/>
          <a:ln>
            <a:noFill/>
          </a:ln>
          <a:effectLst>
            <a:outerShdw blurRad="127000" algn="ctr" rotWithShape="0">
              <a:srgbClr val="000000"/>
            </a:outerShdw>
          </a:effectLst>
        </p:spPr>
        <p:txBody>
          <a:bodyPr wrap="square" lIns="0" bIns="137160" anchor="b" anchorCtr="0">
            <a:noAutofit/>
          </a:bodyPr>
          <a:lstStyle>
            <a:lvl1pPr marL="0" indent="0" algn="l" defTabSz="454007">
              <a:lnSpc>
                <a:spcPct val="85000"/>
              </a:lnSpc>
              <a:spcAft>
                <a:spcPts val="0"/>
              </a:spcAft>
              <a:tabLst/>
              <a:defRPr sz="6666" b="1" baseline="0">
                <a:solidFill>
                  <a:schemeClr val="tx2"/>
                </a:solidFill>
                <a:latin typeface="+mj-lt"/>
                <a:cs typeface="Arial"/>
              </a:defRPr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99009" y="5845789"/>
            <a:ext cx="1828800" cy="777240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693170" y="6476473"/>
            <a:ext cx="961947" cy="2286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7182">
              <a:lnSpc>
                <a:spcPct val="90000"/>
              </a:lnSpc>
            </a:pPr>
            <a:fld id="{9484F7A5-6A8F-8446-A111-2677E1911D97}" type="slidenum">
              <a:rPr lang="en-US" sz="1000" b="0" spc="-70" smtClean="0">
                <a:solidFill>
                  <a:schemeClr val="accent4">
                    <a:lumMod val="50000"/>
                  </a:schemeClr>
                </a:solidFill>
              </a:rPr>
              <a:pPr defTabSz="457182">
                <a:lnSpc>
                  <a:spcPct val="90000"/>
                </a:lnSpc>
              </a:pPr>
              <a:t>‹#›</a:t>
            </a:fld>
            <a:endParaRPr lang="en-US" sz="1000" b="0" spc="-70">
              <a:solidFill>
                <a:schemeClr val="accent4">
                  <a:lumMod val="50000"/>
                </a:schemeClr>
              </a:solidFill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1205867" y="6476473"/>
            <a:ext cx="3209418" cy="228600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pPr>
              <a:spcBef>
                <a:spcPts val="0"/>
              </a:spcBef>
              <a:buFont typeface="Arial"/>
              <a:buNone/>
              <a:defRPr/>
            </a:pPr>
            <a:r>
              <a:rPr lang="en-US" sz="900">
                <a:solidFill>
                  <a:schemeClr val="accent4">
                    <a:lumMod val="50000"/>
                  </a:schemeClr>
                </a:solidFill>
                <a:latin typeface="+mn-lt"/>
                <a:ea typeface="ヒラギノ角ゴ Pro W3" charset="-128"/>
                <a:cs typeface="ヒラギノ角ゴ Pro W3" charset="-128"/>
              </a:rPr>
              <a:t>©</a:t>
            </a:r>
            <a:r>
              <a:rPr lang="en-US" sz="900" baseline="0">
                <a:solidFill>
                  <a:schemeClr val="accent4">
                    <a:lumMod val="50000"/>
                  </a:schemeClr>
                </a:solidFill>
                <a:latin typeface="+mn-lt"/>
                <a:ea typeface="ヒラギノ角ゴ Pro W3" charset="-128"/>
                <a:cs typeface="ヒラギノ角ゴ Pro W3" charset="-128"/>
              </a:rPr>
              <a:t> Hortonworks </a:t>
            </a:r>
            <a:r>
              <a:rPr lang="en-US" sz="900">
                <a:solidFill>
                  <a:schemeClr val="accent4">
                    <a:lumMod val="50000"/>
                  </a:schemeClr>
                </a:solidFill>
                <a:latin typeface="+mn-lt"/>
                <a:ea typeface="ヒラギノ角ゴ Pro W3" charset="-128"/>
                <a:cs typeface="ヒラギノ角ゴ Pro W3" charset="-128"/>
              </a:rPr>
              <a:t>Inc. 2011 – 2016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42503905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17419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- Data Discove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 rot="10800000" flipV="1">
            <a:off x="-3" y="2604143"/>
            <a:ext cx="12192000" cy="1965961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55" tIns="45728" rIns="91455" bIns="45728" rtlCol="0" anchor="ctr"/>
          <a:lstStyle/>
          <a:p>
            <a:pPr algn="ctr"/>
            <a:endParaRPr lang="en-US" sz="1500">
              <a:solidFill>
                <a:srgbClr val="1E1E1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612813" y="2848131"/>
            <a:ext cx="6906718" cy="1477968"/>
          </a:xfrm>
        </p:spPr>
        <p:txBody>
          <a:bodyPr>
            <a:normAutofit/>
          </a:bodyPr>
          <a:lstStyle>
            <a:lvl1pPr marL="0" indent="0" algn="l" defTabSz="454083" rtl="0" eaLnBrk="1" fontAlgn="base" hangingPunct="1">
              <a:spcBef>
                <a:spcPct val="0"/>
              </a:spcBef>
              <a:spcAft>
                <a:spcPct val="0"/>
              </a:spcAft>
              <a:tabLst/>
              <a:defRPr lang="en-US" sz="3583" kern="1200" baseline="0" dirty="0">
                <a:solidFill>
                  <a:schemeClr val="bg2"/>
                </a:solidFill>
                <a:latin typeface="Arial"/>
                <a:ea typeface="ヒラギノ角ゴ Pro W3" charset="-128"/>
                <a:cs typeface="Arial"/>
              </a:defRPr>
            </a:lvl1pPr>
          </a:lstStyle>
          <a:p>
            <a:r>
              <a:rPr lang="en-US"/>
              <a:t>Company Name Goes Here</a:t>
            </a:r>
          </a:p>
        </p:txBody>
      </p:sp>
      <p:pic>
        <p:nvPicPr>
          <p:cNvPr id="38" name="Picture 37" descr="Hortonworks_logo_white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080088" y="5933472"/>
            <a:ext cx="1529872" cy="758952"/>
          </a:xfrm>
          <a:prstGeom prst="rect">
            <a:avLst/>
          </a:prstGeom>
        </p:spPr>
      </p:pic>
      <p:sp>
        <p:nvSpPr>
          <p:cNvPr id="74" name="TextBox 73"/>
          <p:cNvSpPr txBox="1"/>
          <p:nvPr userDrawn="1"/>
        </p:nvSpPr>
        <p:spPr>
          <a:xfrm>
            <a:off x="693167" y="6476473"/>
            <a:ext cx="961947" cy="2286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0000"/>
              </a:lnSpc>
            </a:pPr>
            <a:r>
              <a:rPr lang="en-US" sz="917" b="1" spc="-70">
                <a:solidFill>
                  <a:schemeClr val="bg2"/>
                </a:solidFill>
                <a:latin typeface="+mn-lt"/>
              </a:rPr>
              <a:t> </a:t>
            </a:r>
            <a:fld id="{9484F7A5-6A8F-8446-A111-2677E1911D97}" type="slidenum">
              <a:rPr lang="en-US" sz="917" b="1" spc="-70" smtClean="0">
                <a:solidFill>
                  <a:schemeClr val="bg2"/>
                </a:solidFill>
                <a:latin typeface="+mn-lt"/>
              </a:rPr>
              <a:pPr algn="l">
                <a:lnSpc>
                  <a:spcPct val="90000"/>
                </a:lnSpc>
              </a:pPr>
              <a:t>‹#›</a:t>
            </a:fld>
            <a:endParaRPr lang="en-US" sz="917" b="1" spc="-70">
              <a:solidFill>
                <a:schemeClr val="bg2"/>
              </a:solidFill>
              <a:latin typeface="+mn-lt"/>
            </a:endParaRPr>
          </a:p>
        </p:txBody>
      </p:sp>
      <p:sp>
        <p:nvSpPr>
          <p:cNvPr id="75" name="TextBox 74"/>
          <p:cNvSpPr txBox="1"/>
          <p:nvPr userDrawn="1"/>
        </p:nvSpPr>
        <p:spPr>
          <a:xfrm>
            <a:off x="1655114" y="6476473"/>
            <a:ext cx="3210254" cy="228600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pPr>
              <a:spcBef>
                <a:spcPts val="0"/>
              </a:spcBef>
              <a:buFont typeface="Arial"/>
              <a:buNone/>
              <a:defRPr/>
            </a:pPr>
            <a:r>
              <a:rPr lang="en-US" sz="917">
                <a:solidFill>
                  <a:schemeClr val="bg2"/>
                </a:solidFill>
                <a:latin typeface="+mn-lt"/>
                <a:ea typeface="ヒラギノ角ゴ Pro W3" charset="-128"/>
                <a:cs typeface="ヒラギノ角ゴ Pro W3" charset="-128"/>
              </a:rPr>
              <a:t>© Hortonworks Inc. 2011 – 2016. All Rights Reserved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12" y="2604134"/>
            <a:ext cx="12192000" cy="457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55" tIns="45728" rIns="91455" bIns="45728" rtlCol="0" anchor="ctr"/>
          <a:lstStyle/>
          <a:p>
            <a:pPr lvl="0" algn="ctr"/>
            <a:endParaRPr lang="en-US" sz="1500">
              <a:solidFill>
                <a:srgbClr val="1E1E1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7290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grpId="0" nodeType="after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2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2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0" presetClass="entr" presetSubtype="0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2" presetClass="entr" presetSubtype="8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1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7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7" grpId="1" animBg="1"/>
      <p:bldP spid="8" grpId="0" animBg="1"/>
      <p:bldP spid="8" grpId="1" animBg="1"/>
    </p:bld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- Single View">
    <p:bg>
      <p:bgPr>
        <a:solidFill>
          <a:schemeClr val="bg1">
            <a:lumMod val="75000"/>
            <a:lumOff val="2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 rot="10800000" flipV="1">
            <a:off x="-1" y="1"/>
            <a:ext cx="12192001" cy="822960"/>
          </a:xfrm>
          <a:prstGeom prst="rect">
            <a:avLst/>
          </a:prstGeom>
          <a:solidFill>
            <a:schemeClr val="bg1">
              <a:alpha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55" tIns="45728" rIns="91455" bIns="45728" rtlCol="0" anchor="ctr"/>
          <a:lstStyle/>
          <a:p>
            <a:pPr algn="ctr"/>
            <a:endParaRPr lang="en-US" sz="1500">
              <a:solidFill>
                <a:srgbClr val="1E1E1E"/>
              </a:solidFill>
              <a:latin typeface="Arial"/>
            </a:endParaRPr>
          </a:p>
        </p:txBody>
      </p:sp>
      <p:sp>
        <p:nvSpPr>
          <p:cNvPr id="9" name="Rectangle 8"/>
          <p:cNvSpPr/>
          <p:nvPr userDrawn="1"/>
        </p:nvSpPr>
        <p:spPr>
          <a:xfrm rot="10800000" flipV="1">
            <a:off x="1" y="1"/>
            <a:ext cx="12191999" cy="64008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55" tIns="45728" rIns="91455" bIns="45728" rtlCol="0" anchor="ctr"/>
          <a:lstStyle/>
          <a:p>
            <a:pPr algn="ctr"/>
            <a:endParaRPr lang="en-US" sz="1500">
              <a:solidFill>
                <a:srgbClr val="1E1E1E"/>
              </a:solidFill>
              <a:latin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51833" y="1371600"/>
            <a:ext cx="7317106" cy="1005840"/>
          </a:xfrm>
        </p:spPr>
        <p:txBody>
          <a:bodyPr anchor="b">
            <a:normAutofit/>
          </a:bodyPr>
          <a:lstStyle>
            <a:lvl1pPr marL="0" algn="l" defTabSz="457258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2833" kern="1200" baseline="0" dirty="0">
                <a:solidFill>
                  <a:schemeClr val="tx2"/>
                </a:solidFill>
                <a:latin typeface="Arial"/>
                <a:ea typeface="ヒラギノ角ゴ Pro W3" charset="-128"/>
                <a:cs typeface="Arial"/>
              </a:defRPr>
            </a:lvl1pPr>
          </a:lstStyle>
          <a:p>
            <a:r>
              <a:rPr lang="en-US"/>
              <a:t>Headline Goes Here</a:t>
            </a:r>
            <a:br>
              <a:rPr lang="en-US"/>
            </a:br>
            <a:r>
              <a:rPr lang="en-US"/>
              <a:t>(maximum two lines)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1143303" y="2606040"/>
            <a:ext cx="8378086" cy="0"/>
          </a:xfrm>
          <a:prstGeom prst="line">
            <a:avLst/>
          </a:prstGeom>
          <a:ln w="19050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594524" y="0"/>
            <a:ext cx="2743914" cy="64008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 defTabSz="457258" rtl="0" eaLnBrk="1" fontAlgn="base" hangingPunct="1">
              <a:spcBef>
                <a:spcPct val="0"/>
              </a:spcBef>
              <a:spcAft>
                <a:spcPct val="0"/>
              </a:spcAft>
              <a:defRPr lang="en-US" sz="2000" b="0" kern="1200" baseline="0" dirty="0">
                <a:solidFill>
                  <a:schemeClr val="bg2"/>
                </a:solidFill>
                <a:latin typeface="Arial"/>
                <a:ea typeface="ヒラギノ角ゴ Pro W3" charset="-128"/>
                <a:cs typeface="Arial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ompany Name</a:t>
            </a:r>
          </a:p>
        </p:txBody>
      </p:sp>
      <p:sp>
        <p:nvSpPr>
          <p:cNvPr id="21" name="TextBox 20"/>
          <p:cNvSpPr txBox="1"/>
          <p:nvPr userDrawn="1"/>
        </p:nvSpPr>
        <p:spPr>
          <a:xfrm>
            <a:off x="693167" y="6476473"/>
            <a:ext cx="961947" cy="2286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fld id="{9484F7A5-6A8F-8446-A111-2677E1911D97}" type="slidenum">
              <a:rPr lang="en-US" sz="917" b="1" spc="-70" smtClean="0">
                <a:solidFill>
                  <a:srgbClr val="818A8F"/>
                </a:solidFill>
                <a:latin typeface="Arial"/>
                <a:ea typeface="ＭＳ Ｐゴシック" charset="0"/>
                <a:cs typeface="ＭＳ Ｐゴシック" charset="0"/>
              </a:rPr>
              <a:pPr>
                <a:lnSpc>
                  <a:spcPct val="90000"/>
                </a:lnSpc>
              </a:pPr>
              <a:t>‹#›</a:t>
            </a:fld>
            <a:endParaRPr lang="en-US" sz="917" b="1" spc="-70">
              <a:solidFill>
                <a:srgbClr val="818A8F"/>
              </a:solidFill>
              <a:latin typeface="Arial"/>
              <a:ea typeface="ＭＳ Ｐゴシック" charset="0"/>
              <a:cs typeface="ＭＳ Ｐゴシック" charset="0"/>
            </a:endParaRPr>
          </a:p>
        </p:txBody>
      </p:sp>
      <p:sp>
        <p:nvSpPr>
          <p:cNvPr id="22" name="TextBox 21"/>
          <p:cNvSpPr txBox="1"/>
          <p:nvPr userDrawn="1"/>
        </p:nvSpPr>
        <p:spPr>
          <a:xfrm>
            <a:off x="1655114" y="6476473"/>
            <a:ext cx="3210254" cy="228600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pPr>
              <a:buFont typeface="Arial"/>
              <a:buNone/>
              <a:defRPr/>
            </a:pPr>
            <a:r>
              <a:rPr lang="en-US" sz="917">
                <a:solidFill>
                  <a:srgbClr val="818A8F"/>
                </a:solidFill>
                <a:latin typeface="Arial"/>
                <a:ea typeface="ヒラギノ角ゴ Pro W3" charset="-128"/>
                <a:cs typeface="ヒラギノ角ゴ Pro W3" charset="-128"/>
              </a:rPr>
              <a:t>© Hortonworks Inc. 2011 – 2016. All Rights Reserved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1051834" y="2880360"/>
            <a:ext cx="8231743" cy="32004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 baseline="0"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1"/>
            <a:r>
              <a:rPr lang="en-US"/>
              <a:t>Subtopics Go Here – 20pt</a:t>
            </a:r>
          </a:p>
          <a:p>
            <a:pPr lvl="2"/>
            <a:r>
              <a:rPr lang="en-US"/>
              <a:t>Bulleted Subtopics Go Here – 18pt</a:t>
            </a:r>
          </a:p>
          <a:p>
            <a:pPr lvl="3"/>
            <a:r>
              <a:rPr lang="en-US"/>
              <a:t>Only use this level if necessary</a:t>
            </a:r>
          </a:p>
          <a:p>
            <a:pPr lvl="4"/>
            <a:r>
              <a:rPr lang="en-US"/>
              <a:t>You should never have to use this level</a:t>
            </a:r>
          </a:p>
        </p:txBody>
      </p:sp>
      <p:pic>
        <p:nvPicPr>
          <p:cNvPr id="39" name="Picture 38" descr="Hortonworks_logo_white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080088" y="5933472"/>
            <a:ext cx="1529872" cy="758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32891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700"/>
                                        <p:tgtEl>
                                          <p:spTgt spid="1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700"/>
                                        <p:tgtEl>
                                          <p:spTgt spid="1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700"/>
                                        <p:tgtEl>
                                          <p:spTgt spid="1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build="p" advAuto="0">
        <p:tmplLst>
          <p:tmpl lvl="2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7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  <p:tmpl lvl="3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7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  <p:tmpl lvl="4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7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  <p:tmpl lvl="5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7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 - Data Enrichment">
    <p:bg>
      <p:bgPr>
        <a:solidFill>
          <a:srgbClr val="ABB2B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 rot="10800000" flipV="1">
            <a:off x="-1" y="1"/>
            <a:ext cx="12192001" cy="822960"/>
          </a:xfrm>
          <a:prstGeom prst="rect">
            <a:avLst/>
          </a:prstGeom>
          <a:solidFill>
            <a:schemeClr val="bg1">
              <a:alpha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55" tIns="45728" rIns="91455" bIns="45728" rtlCol="0" anchor="ctr"/>
          <a:lstStyle/>
          <a:p>
            <a:pPr algn="ctr"/>
            <a:endParaRPr lang="en-US" sz="1500">
              <a:solidFill>
                <a:srgbClr val="1E1E1E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 rot="10800000" flipV="1">
            <a:off x="1" y="1"/>
            <a:ext cx="12191999" cy="64008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55" tIns="45728" rIns="91455" bIns="45728" rtlCol="0" anchor="ctr"/>
          <a:lstStyle/>
          <a:p>
            <a:pPr algn="ctr"/>
            <a:endParaRPr lang="en-US" sz="1500">
              <a:solidFill>
                <a:srgbClr val="1E1E1E"/>
              </a:solidFill>
            </a:endParaRP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594519" y="0"/>
            <a:ext cx="6562888" cy="64008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 defTabSz="457258" rtl="0" eaLnBrk="1" fontAlgn="base" hangingPunct="1">
              <a:spcBef>
                <a:spcPct val="0"/>
              </a:spcBef>
              <a:spcAft>
                <a:spcPct val="0"/>
              </a:spcAft>
              <a:defRPr lang="en-US" sz="2000" b="0" kern="1200" baseline="0" dirty="0">
                <a:solidFill>
                  <a:schemeClr val="bg2"/>
                </a:solidFill>
                <a:latin typeface="Arial"/>
                <a:ea typeface="ヒラギノ角ゴ Pro W3" charset="-128"/>
                <a:cs typeface="Arial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ompany Name</a:t>
            </a:r>
          </a:p>
        </p:txBody>
      </p:sp>
      <p:sp>
        <p:nvSpPr>
          <p:cNvPr id="21" name="TextBox 20"/>
          <p:cNvSpPr txBox="1"/>
          <p:nvPr userDrawn="1"/>
        </p:nvSpPr>
        <p:spPr>
          <a:xfrm>
            <a:off x="693167" y="6476473"/>
            <a:ext cx="961947" cy="2286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fld id="{9484F7A5-6A8F-8446-A111-2677E1911D97}" type="slidenum">
              <a:rPr lang="en-US" sz="917" b="1" spc="-70" smtClean="0">
                <a:solidFill>
                  <a:srgbClr val="818A8F"/>
                </a:solidFill>
              </a:rPr>
              <a:pPr>
                <a:lnSpc>
                  <a:spcPct val="90000"/>
                </a:lnSpc>
              </a:pPr>
              <a:t>‹#›</a:t>
            </a:fld>
            <a:endParaRPr lang="en-US" sz="917" b="1" spc="-70">
              <a:solidFill>
                <a:srgbClr val="818A8F"/>
              </a:solidFill>
            </a:endParaRPr>
          </a:p>
        </p:txBody>
      </p:sp>
      <p:sp>
        <p:nvSpPr>
          <p:cNvPr id="22" name="TextBox 21"/>
          <p:cNvSpPr txBox="1"/>
          <p:nvPr userDrawn="1"/>
        </p:nvSpPr>
        <p:spPr>
          <a:xfrm>
            <a:off x="1655114" y="6476473"/>
            <a:ext cx="3210254" cy="228600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pPr>
              <a:buFont typeface="Arial"/>
              <a:buNone/>
              <a:defRPr/>
            </a:pPr>
            <a:r>
              <a:rPr lang="en-US" sz="917">
                <a:solidFill>
                  <a:srgbClr val="818A8F"/>
                </a:solidFill>
                <a:ea typeface="ヒラギノ角ゴ Pro W3" charset="-128"/>
                <a:cs typeface="ヒラギノ角ゴ Pro W3" charset="-128"/>
              </a:rPr>
              <a:t>© Hortonworks Inc. 2011 – 2016. All Rights Reserved</a:t>
            </a:r>
          </a:p>
        </p:txBody>
      </p:sp>
      <p:pic>
        <p:nvPicPr>
          <p:cNvPr id="45" name="Picture 44" descr="Hortonworks_logo_white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080088" y="5933472"/>
            <a:ext cx="1529872" cy="758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70055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- Active Arch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" name="Picture 45" descr="Hortonworks_logo_white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080098" y="5933472"/>
            <a:ext cx="1529872" cy="758952"/>
          </a:xfrm>
          <a:prstGeom prst="rect">
            <a:avLst/>
          </a:prstGeom>
        </p:spPr>
      </p:pic>
      <p:sp>
        <p:nvSpPr>
          <p:cNvPr id="49" name="TextBox 48"/>
          <p:cNvSpPr txBox="1"/>
          <p:nvPr userDrawn="1"/>
        </p:nvSpPr>
        <p:spPr>
          <a:xfrm>
            <a:off x="693167" y="6476473"/>
            <a:ext cx="961947" cy="2286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917" b="1" spc="-70">
                <a:solidFill>
                  <a:srgbClr val="FFFFFF"/>
                </a:solidFill>
                <a:latin typeface="Arial"/>
              </a:rPr>
              <a:t>Page </a:t>
            </a:r>
            <a:fld id="{9484F7A5-6A8F-8446-A111-2677E1911D97}" type="slidenum">
              <a:rPr lang="en-US" sz="917" b="1" spc="-70" smtClean="0">
                <a:solidFill>
                  <a:srgbClr val="FFFFFF"/>
                </a:solidFill>
                <a:latin typeface="Arial"/>
              </a:rPr>
              <a:pPr>
                <a:lnSpc>
                  <a:spcPct val="90000"/>
                </a:lnSpc>
              </a:pPr>
              <a:t>‹#›</a:t>
            </a:fld>
            <a:endParaRPr lang="en-US" sz="917" b="1" spc="-70">
              <a:solidFill>
                <a:srgbClr val="FFFFFF"/>
              </a:solidFill>
              <a:latin typeface="Arial"/>
            </a:endParaRPr>
          </a:p>
        </p:txBody>
      </p:sp>
      <p:sp>
        <p:nvSpPr>
          <p:cNvPr id="50" name="TextBox 49"/>
          <p:cNvSpPr txBox="1"/>
          <p:nvPr userDrawn="1"/>
        </p:nvSpPr>
        <p:spPr>
          <a:xfrm>
            <a:off x="1655114" y="6476473"/>
            <a:ext cx="3210254" cy="228600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pPr>
              <a:buFont typeface="Arial"/>
              <a:buNone/>
              <a:defRPr/>
            </a:pPr>
            <a:r>
              <a:rPr lang="en-US" sz="917">
                <a:solidFill>
                  <a:srgbClr val="FFFFFF"/>
                </a:solidFill>
                <a:latin typeface="Arial"/>
                <a:ea typeface="ヒラギノ角ゴ Pro W3" charset="-128"/>
                <a:cs typeface="ヒラギノ角ゴ Pro W3" charset="-128"/>
              </a:rPr>
              <a:t>© Hortonworks Inc. 2011 – 2016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5847152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15737702-4C93-44E1-A4FD-4D8B5C210EC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654839" y="345425"/>
            <a:ext cx="6133952" cy="6077457"/>
          </a:xfrm>
          <a:custGeom>
            <a:avLst/>
            <a:gdLst>
              <a:gd name="connsiteX0" fmla="*/ 1736494 w 6133952"/>
              <a:gd name="connsiteY0" fmla="*/ 528888 h 6077457"/>
              <a:gd name="connsiteX1" fmla="*/ 3394918 w 6133952"/>
              <a:gd name="connsiteY1" fmla="*/ 1749001 h 6077457"/>
              <a:gd name="connsiteX2" fmla="*/ 3400018 w 6133952"/>
              <a:gd name="connsiteY2" fmla="*/ 1768838 h 6077457"/>
              <a:gd name="connsiteX3" fmla="*/ 3403797 w 6133952"/>
              <a:gd name="connsiteY3" fmla="*/ 1767991 h 6077457"/>
              <a:gd name="connsiteX4" fmla="*/ 3650320 w 6133952"/>
              <a:gd name="connsiteY4" fmla="*/ 1746239 h 6077457"/>
              <a:gd name="connsiteX5" fmla="*/ 5042976 w 6133952"/>
              <a:gd name="connsiteY5" fmla="*/ 3138895 h 6077457"/>
              <a:gd name="connsiteX6" fmla="*/ 4874890 w 6133952"/>
              <a:gd name="connsiteY6" fmla="*/ 3802718 h 6077457"/>
              <a:gd name="connsiteX7" fmla="*/ 4840096 w 6133952"/>
              <a:gd name="connsiteY7" fmla="*/ 3859991 h 6077457"/>
              <a:gd name="connsiteX8" fmla="*/ 4878530 w 6133952"/>
              <a:gd name="connsiteY8" fmla="*/ 3914083 h 6077457"/>
              <a:gd name="connsiteX9" fmla="*/ 4993203 w 6133952"/>
              <a:gd name="connsiteY9" fmla="*/ 4028411 h 6077457"/>
              <a:gd name="connsiteX10" fmla="*/ 5598041 w 6133952"/>
              <a:gd name="connsiteY10" fmla="*/ 4149598 h 6077457"/>
              <a:gd name="connsiteX11" fmla="*/ 6117847 w 6133952"/>
              <a:gd name="connsiteY11" fmla="*/ 4428501 h 6077457"/>
              <a:gd name="connsiteX12" fmla="*/ 5893243 w 6133952"/>
              <a:gd name="connsiteY12" fmla="*/ 4893795 h 6077457"/>
              <a:gd name="connsiteX13" fmla="*/ 5345369 w 6133952"/>
              <a:gd name="connsiteY13" fmla="*/ 4989552 h 6077457"/>
              <a:gd name="connsiteX14" fmla="*/ 4792685 w 6133952"/>
              <a:gd name="connsiteY14" fmla="*/ 5064655 h 6077457"/>
              <a:gd name="connsiteX15" fmla="*/ 3803447 w 6133952"/>
              <a:gd name="connsiteY15" fmla="*/ 5921794 h 6077457"/>
              <a:gd name="connsiteX16" fmla="*/ 3317835 w 6133952"/>
              <a:gd name="connsiteY16" fmla="*/ 5909293 h 6077457"/>
              <a:gd name="connsiteX17" fmla="*/ 2376613 w 6133952"/>
              <a:gd name="connsiteY17" fmla="*/ 5661923 h 6077457"/>
              <a:gd name="connsiteX18" fmla="*/ 1459536 w 6133952"/>
              <a:gd name="connsiteY18" fmla="*/ 5697622 h 6077457"/>
              <a:gd name="connsiteX19" fmla="*/ 605920 w 6133952"/>
              <a:gd name="connsiteY19" fmla="*/ 6077457 h 6077457"/>
              <a:gd name="connsiteX20" fmla="*/ 42568 w 6133952"/>
              <a:gd name="connsiteY20" fmla="*/ 5666211 h 6077457"/>
              <a:gd name="connsiteX21" fmla="*/ 145528 w 6133952"/>
              <a:gd name="connsiteY21" fmla="*/ 4959248 h 6077457"/>
              <a:gd name="connsiteX22" fmla="*/ 597861 w 6133952"/>
              <a:gd name="connsiteY22" fmla="*/ 4435764 h 6077457"/>
              <a:gd name="connsiteX23" fmla="*/ 770222 w 6133952"/>
              <a:gd name="connsiteY23" fmla="*/ 3848180 h 6077457"/>
              <a:gd name="connsiteX24" fmla="*/ 788479 w 6133952"/>
              <a:gd name="connsiteY24" fmla="*/ 3719205 h 6077457"/>
              <a:gd name="connsiteX25" fmla="*/ 765604 w 6133952"/>
              <a:gd name="connsiteY25" fmla="*/ 3705309 h 6077457"/>
              <a:gd name="connsiteX26" fmla="*/ 1 w 6133952"/>
              <a:gd name="connsiteY26" fmla="*/ 2265381 h 6077457"/>
              <a:gd name="connsiteX27" fmla="*/ 1736494 w 6133952"/>
              <a:gd name="connsiteY27" fmla="*/ 528888 h 6077457"/>
              <a:gd name="connsiteX28" fmla="*/ 4507897 w 6133952"/>
              <a:gd name="connsiteY28" fmla="*/ 0 h 6077457"/>
              <a:gd name="connsiteX29" fmla="*/ 6053118 w 6133952"/>
              <a:gd name="connsiteY29" fmla="*/ 1545221 h 6077457"/>
              <a:gd name="connsiteX30" fmla="*/ 5244441 w 6133952"/>
              <a:gd name="connsiteY30" fmla="*/ 2903942 h 6077457"/>
              <a:gd name="connsiteX31" fmla="*/ 5210759 w 6133952"/>
              <a:gd name="connsiteY31" fmla="*/ 2920168 h 6077457"/>
              <a:gd name="connsiteX32" fmla="*/ 5204992 w 6133952"/>
              <a:gd name="connsiteY32" fmla="*/ 2805958 h 6077457"/>
              <a:gd name="connsiteX33" fmla="*/ 3819526 w 6133952"/>
              <a:gd name="connsiteY33" fmla="*/ 1555693 h 6077457"/>
              <a:gd name="connsiteX34" fmla="*/ 3573003 w 6133952"/>
              <a:gd name="connsiteY34" fmla="*/ 1577445 h 6077457"/>
              <a:gd name="connsiteX35" fmla="*/ 3569224 w 6133952"/>
              <a:gd name="connsiteY35" fmla="*/ 1578292 h 6077457"/>
              <a:gd name="connsiteX36" fmla="*/ 3564124 w 6133952"/>
              <a:gd name="connsiteY36" fmla="*/ 1558455 h 6077457"/>
              <a:gd name="connsiteX37" fmla="*/ 3148229 w 6133952"/>
              <a:gd name="connsiteY37" fmla="*/ 861767 h 6077457"/>
              <a:gd name="connsiteX38" fmla="*/ 3131321 w 6133952"/>
              <a:gd name="connsiteY38" fmla="*/ 845742 h 6077457"/>
              <a:gd name="connsiteX39" fmla="*/ 3149176 w 6133952"/>
              <a:gd name="connsiteY39" fmla="*/ 808677 h 6077457"/>
              <a:gd name="connsiteX40" fmla="*/ 4507897 w 6133952"/>
              <a:gd name="connsiteY40" fmla="*/ 0 h 60774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952" h="6077457">
                <a:moveTo>
                  <a:pt x="1736494" y="528888"/>
                </a:moveTo>
                <a:cubicBezTo>
                  <a:pt x="2515714" y="528888"/>
                  <a:pt x="3175058" y="1042129"/>
                  <a:pt x="3394918" y="1749001"/>
                </a:cubicBezTo>
                <a:lnTo>
                  <a:pt x="3400018" y="1768838"/>
                </a:lnTo>
                <a:lnTo>
                  <a:pt x="3403797" y="1767991"/>
                </a:lnTo>
                <a:cubicBezTo>
                  <a:pt x="3483812" y="1753698"/>
                  <a:pt x="3566195" y="1746239"/>
                  <a:pt x="3650320" y="1746239"/>
                </a:cubicBezTo>
                <a:cubicBezTo>
                  <a:pt x="4419463" y="1746239"/>
                  <a:pt x="5042976" y="2369752"/>
                  <a:pt x="5042976" y="3138895"/>
                </a:cubicBezTo>
                <a:cubicBezTo>
                  <a:pt x="5042976" y="3379252"/>
                  <a:pt x="4982086" y="3605388"/>
                  <a:pt x="4874890" y="3802718"/>
                </a:cubicBezTo>
                <a:lnTo>
                  <a:pt x="4840096" y="3859991"/>
                </a:lnTo>
                <a:lnTo>
                  <a:pt x="4878530" y="3914083"/>
                </a:lnTo>
                <a:cubicBezTo>
                  <a:pt x="4913664" y="3958280"/>
                  <a:pt x="4953522" y="3998643"/>
                  <a:pt x="4993203" y="4028411"/>
                </a:cubicBezTo>
                <a:cubicBezTo>
                  <a:pt x="5160476" y="4153950"/>
                  <a:pt x="5389187" y="4139059"/>
                  <a:pt x="5598041" y="4149598"/>
                </a:cubicBezTo>
                <a:cubicBezTo>
                  <a:pt x="5806897" y="4160172"/>
                  <a:pt x="6049640" y="4230769"/>
                  <a:pt x="6117847" y="4428501"/>
                </a:cubicBezTo>
                <a:cubicBezTo>
                  <a:pt x="6178947" y="4605611"/>
                  <a:pt x="6058005" y="4804537"/>
                  <a:pt x="5893243" y="4893795"/>
                </a:cubicBezTo>
                <a:cubicBezTo>
                  <a:pt x="5728453" y="4983057"/>
                  <a:pt x="5532774" y="4989124"/>
                  <a:pt x="5345369" y="4989552"/>
                </a:cubicBezTo>
                <a:cubicBezTo>
                  <a:pt x="5157996" y="4989979"/>
                  <a:pt x="4963787" y="4988172"/>
                  <a:pt x="4792685" y="5064655"/>
                </a:cubicBezTo>
                <a:cubicBezTo>
                  <a:pt x="4388487" y="5245318"/>
                  <a:pt x="4230591" y="5805233"/>
                  <a:pt x="3803447" y="5921794"/>
                </a:cubicBezTo>
                <a:cubicBezTo>
                  <a:pt x="3645886" y="5964754"/>
                  <a:pt x="3478767" y="5937146"/>
                  <a:pt x="3317835" y="5909293"/>
                </a:cubicBezTo>
                <a:cubicBezTo>
                  <a:pt x="2984912" y="5851625"/>
                  <a:pt x="2699454" y="5740578"/>
                  <a:pt x="2376613" y="5661923"/>
                </a:cubicBezTo>
                <a:cubicBezTo>
                  <a:pt x="2079940" y="5589670"/>
                  <a:pt x="1745760" y="5577136"/>
                  <a:pt x="1459536" y="5697622"/>
                </a:cubicBezTo>
                <a:cubicBezTo>
                  <a:pt x="1169174" y="5819851"/>
                  <a:pt x="920917" y="6077638"/>
                  <a:pt x="605920" y="6077457"/>
                </a:cubicBezTo>
                <a:cubicBezTo>
                  <a:pt x="358489" y="6077303"/>
                  <a:pt x="128552" y="5898233"/>
                  <a:pt x="42568" y="5666211"/>
                </a:cubicBezTo>
                <a:cubicBezTo>
                  <a:pt x="-43412" y="5434193"/>
                  <a:pt x="5830" y="5163503"/>
                  <a:pt x="145528" y="4959248"/>
                </a:cubicBezTo>
                <a:cubicBezTo>
                  <a:pt x="275967" y="4768532"/>
                  <a:pt x="476520" y="4632390"/>
                  <a:pt x="597861" y="4435764"/>
                </a:cubicBezTo>
                <a:cubicBezTo>
                  <a:pt x="706125" y="4260301"/>
                  <a:pt x="741414" y="4054641"/>
                  <a:pt x="770222" y="3848180"/>
                </a:cubicBezTo>
                <a:lnTo>
                  <a:pt x="788479" y="3719205"/>
                </a:lnTo>
                <a:lnTo>
                  <a:pt x="765604" y="3705309"/>
                </a:lnTo>
                <a:cubicBezTo>
                  <a:pt x="303694" y="3393248"/>
                  <a:pt x="1" y="2864781"/>
                  <a:pt x="1" y="2265381"/>
                </a:cubicBezTo>
                <a:cubicBezTo>
                  <a:pt x="1" y="1306342"/>
                  <a:pt x="777455" y="528888"/>
                  <a:pt x="1736494" y="528888"/>
                </a:cubicBezTo>
                <a:close/>
                <a:moveTo>
                  <a:pt x="4507897" y="0"/>
                </a:moveTo>
                <a:cubicBezTo>
                  <a:pt x="5361299" y="0"/>
                  <a:pt x="6053118" y="691819"/>
                  <a:pt x="6053118" y="1545221"/>
                </a:cubicBezTo>
                <a:cubicBezTo>
                  <a:pt x="6053118" y="2131935"/>
                  <a:pt x="5726126" y="2642276"/>
                  <a:pt x="5244441" y="2903942"/>
                </a:cubicBezTo>
                <a:lnTo>
                  <a:pt x="5210759" y="2920168"/>
                </a:lnTo>
                <a:lnTo>
                  <a:pt x="5204992" y="2805958"/>
                </a:lnTo>
                <a:cubicBezTo>
                  <a:pt x="5133674" y="2103703"/>
                  <a:pt x="4540598" y="1555693"/>
                  <a:pt x="3819526" y="1555693"/>
                </a:cubicBezTo>
                <a:cubicBezTo>
                  <a:pt x="3735401" y="1555693"/>
                  <a:pt x="3653018" y="1563152"/>
                  <a:pt x="3573003" y="1577445"/>
                </a:cubicBezTo>
                <a:lnTo>
                  <a:pt x="3569224" y="1578292"/>
                </a:lnTo>
                <a:lnTo>
                  <a:pt x="3564124" y="1558455"/>
                </a:lnTo>
                <a:cubicBezTo>
                  <a:pt x="3481677" y="1293378"/>
                  <a:pt x="3337427" y="1055531"/>
                  <a:pt x="3148229" y="861767"/>
                </a:cubicBezTo>
                <a:lnTo>
                  <a:pt x="3131321" y="845742"/>
                </a:lnTo>
                <a:lnTo>
                  <a:pt x="3149176" y="808677"/>
                </a:lnTo>
                <a:cubicBezTo>
                  <a:pt x="3410843" y="326993"/>
                  <a:pt x="3921183" y="0"/>
                  <a:pt x="4507897" y="0"/>
                </a:cubicBezTo>
                <a:close/>
              </a:path>
            </a:pathLst>
          </a:custGeom>
          <a:noFill/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47750701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- Data Enrich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Picture 40" descr="Hortonworks_logo_white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080122" y="5933472"/>
            <a:ext cx="1529872" cy="758952"/>
          </a:xfrm>
          <a:prstGeom prst="rect">
            <a:avLst/>
          </a:prstGeom>
        </p:spPr>
      </p:pic>
      <p:sp>
        <p:nvSpPr>
          <p:cNvPr id="43" name="TextBox 42"/>
          <p:cNvSpPr txBox="1"/>
          <p:nvPr userDrawn="1"/>
        </p:nvSpPr>
        <p:spPr>
          <a:xfrm>
            <a:off x="693167" y="6476473"/>
            <a:ext cx="961947" cy="2286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917" b="1" spc="-70">
                <a:solidFill>
                  <a:srgbClr val="FFFFFF"/>
                </a:solidFill>
                <a:latin typeface="Arial"/>
              </a:rPr>
              <a:t>Page </a:t>
            </a:r>
            <a:fld id="{9484F7A5-6A8F-8446-A111-2677E1911D97}" type="slidenum">
              <a:rPr lang="en-US" sz="917" b="1" spc="-70" smtClean="0">
                <a:solidFill>
                  <a:srgbClr val="FFFFFF"/>
                </a:solidFill>
                <a:latin typeface="Arial"/>
              </a:rPr>
              <a:pPr>
                <a:lnSpc>
                  <a:spcPct val="90000"/>
                </a:lnSpc>
              </a:pPr>
              <a:t>‹#›</a:t>
            </a:fld>
            <a:endParaRPr lang="en-US" sz="917" b="1" spc="-7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4" name="TextBox 43"/>
          <p:cNvSpPr txBox="1"/>
          <p:nvPr userDrawn="1"/>
        </p:nvSpPr>
        <p:spPr>
          <a:xfrm>
            <a:off x="1655114" y="6476473"/>
            <a:ext cx="3210254" cy="228600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pPr>
              <a:buFont typeface="Arial"/>
              <a:buNone/>
              <a:defRPr/>
            </a:pPr>
            <a:r>
              <a:rPr lang="en-US" sz="917">
                <a:solidFill>
                  <a:srgbClr val="FFFFFF"/>
                </a:solidFill>
                <a:latin typeface="Arial"/>
                <a:ea typeface="ヒラギノ角ゴ Pro W3" charset="-128"/>
                <a:cs typeface="ヒラギノ角ゴ Pro W3" charset="-128"/>
              </a:rPr>
              <a:t>© Hortonworks Inc. 2011 – 2015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4666528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ransition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1" y="2"/>
            <a:ext cx="12192000" cy="397399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55" tIns="45728" rIns="91455" bIns="45728" rtlCol="0" anchor="ctr"/>
          <a:lstStyle/>
          <a:p>
            <a:pPr algn="ctr"/>
            <a:endParaRPr lang="en-US" sz="1500"/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569222" y="1713729"/>
            <a:ext cx="11013179" cy="2260262"/>
          </a:xfrm>
          <a:prstGeom prst="rect">
            <a:avLst/>
          </a:prstGeom>
          <a:noFill/>
        </p:spPr>
        <p:txBody>
          <a:bodyPr wrap="square" bIns="164619" anchor="b" anchorCtr="0">
            <a:noAutofit/>
          </a:bodyPr>
          <a:lstStyle>
            <a:lvl1pPr marL="0" indent="0" algn="l" defTabSz="454083">
              <a:spcAft>
                <a:spcPts val="0"/>
              </a:spcAft>
              <a:tabLst/>
              <a:defRPr sz="4833" baseline="0">
                <a:solidFill>
                  <a:schemeClr val="bg2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Section Divider Title Goes Here (maximum three lines)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69222" y="4056297"/>
            <a:ext cx="11013179" cy="9616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833" baseline="0">
                <a:solidFill>
                  <a:srgbClr val="818A8F"/>
                </a:solidFill>
                <a:latin typeface="Arial"/>
                <a:cs typeface="Arial"/>
              </a:defRPr>
            </a:lvl1pPr>
            <a:lvl2pPr marL="4572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5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7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90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2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5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8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80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Optional Subhead or Speaker Name (maximum two lines)</a:t>
            </a:r>
          </a:p>
        </p:txBody>
      </p:sp>
    </p:spTree>
    <p:extLst>
      <p:ext uri="{BB962C8B-B14F-4D97-AF65-F5344CB8AC3E}">
        <p14:creationId xmlns:p14="http://schemas.microsoft.com/office/powerpoint/2010/main" val="41481962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609600" y="0"/>
            <a:ext cx="10972801" cy="1016000"/>
          </a:xfrm>
          <a:prstGeom prst="rect">
            <a:avLst/>
          </a:prstGeom>
        </p:spPr>
        <p:txBody>
          <a:bodyPr vert="horz" lIns="109746" tIns="54873" rIns="109746" bIns="54873" rtlCol="0" anchor="ctr">
            <a:noAutofit/>
          </a:bodyPr>
          <a:lstStyle>
            <a:lvl1pPr>
              <a:defRPr>
                <a:latin typeface="Arial"/>
                <a:cs typeface="Arial"/>
              </a:defRPr>
            </a:lvl1pPr>
          </a:lstStyle>
          <a:p>
            <a:r>
              <a:rPr lang="en-US"/>
              <a:t>Headline Goes Here (maximum one line)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609600" y="1106435"/>
            <a:ext cx="10972801" cy="4954588"/>
          </a:xfrm>
          <a:prstGeom prst="rect">
            <a:avLst/>
          </a:prstGeom>
        </p:spPr>
        <p:txBody>
          <a:bodyPr vert="horz"/>
          <a:lstStyle>
            <a:lvl1pPr marL="0" indent="0">
              <a:spcBef>
                <a:spcPts val="1376"/>
              </a:spcBef>
              <a:buClr>
                <a:srgbClr val="69BE28"/>
              </a:buClr>
              <a:buFont typeface="Wingdings" charset="2"/>
              <a:buNone/>
              <a:defRPr sz="2417" b="1" i="0" baseline="0">
                <a:latin typeface="Arial"/>
                <a:cs typeface="Arial"/>
              </a:defRPr>
            </a:lvl1pPr>
            <a:lvl2pPr marL="0" indent="0" defTabSz="58745">
              <a:spcBef>
                <a:spcPts val="776"/>
              </a:spcBef>
              <a:buFont typeface="Lucida Grande"/>
              <a:buNone/>
              <a:tabLst/>
              <a:defRPr sz="2000">
                <a:solidFill>
                  <a:srgbClr val="1E1E1E"/>
                </a:solidFill>
              </a:defRPr>
            </a:lvl2pPr>
            <a:lvl3pPr marL="166709" indent="-166709" defTabSz="282611">
              <a:spcBef>
                <a:spcPts val="776"/>
              </a:spcBef>
              <a:spcAft>
                <a:spcPts val="0"/>
              </a:spcAft>
              <a:buClr>
                <a:schemeClr val="accent1"/>
              </a:buClr>
              <a:buFont typeface="Arial"/>
              <a:buChar char="•"/>
              <a:tabLst/>
              <a:defRPr sz="1833">
                <a:solidFill>
                  <a:srgbClr val="1E1E1E"/>
                </a:solidFill>
              </a:defRPr>
            </a:lvl3pPr>
            <a:lvl4pPr marL="396925" indent="-171471" defTabSz="282611">
              <a:spcBef>
                <a:spcPts val="776"/>
              </a:spcBef>
              <a:spcAft>
                <a:spcPts val="0"/>
              </a:spcAft>
              <a:defRPr sz="1583">
                <a:solidFill>
                  <a:srgbClr val="1E1E1E"/>
                </a:solidFill>
              </a:defRPr>
            </a:lvl4pPr>
            <a:lvl5pPr marL="627142" indent="-176235" defTabSz="282611">
              <a:spcBef>
                <a:spcPts val="776"/>
              </a:spcBef>
              <a:spcAft>
                <a:spcPts val="0"/>
              </a:spcAft>
              <a:buFont typeface="Lucida Grande"/>
              <a:buChar char="-"/>
              <a:defRPr sz="1417">
                <a:solidFill>
                  <a:srgbClr val="1E1E1E"/>
                </a:solidFill>
              </a:defRPr>
            </a:lvl5pPr>
          </a:lstStyle>
          <a:p>
            <a:pPr lvl="0"/>
            <a:r>
              <a:rPr lang="en-US"/>
              <a:t>Subhead Goes Here – 24pt</a:t>
            </a:r>
          </a:p>
          <a:p>
            <a:pPr lvl="1"/>
            <a:r>
              <a:rPr lang="en-US"/>
              <a:t>Subtopics Go Here – 20pt</a:t>
            </a:r>
          </a:p>
          <a:p>
            <a:pPr lvl="2"/>
            <a:r>
              <a:rPr lang="en-US"/>
              <a:t>Bulleted Subtopics Go Here – 18pt</a:t>
            </a:r>
          </a:p>
          <a:p>
            <a:pPr lvl="3"/>
            <a:r>
              <a:rPr lang="en-US"/>
              <a:t>Only use this level if necessary</a:t>
            </a:r>
          </a:p>
          <a:p>
            <a:pPr lvl="4"/>
            <a:r>
              <a:rPr lang="en-US"/>
              <a:t>You should never have to use this level</a:t>
            </a:r>
          </a:p>
        </p:txBody>
      </p:sp>
    </p:spTree>
    <p:extLst>
      <p:ext uri="{BB962C8B-B14F-4D97-AF65-F5344CB8AC3E}">
        <p14:creationId xmlns:p14="http://schemas.microsoft.com/office/powerpoint/2010/main" val="2679582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re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609600" y="0"/>
            <a:ext cx="10972801" cy="1016000"/>
          </a:xfrm>
          <a:prstGeom prst="rect">
            <a:avLst/>
          </a:prstGeom>
        </p:spPr>
        <p:txBody>
          <a:bodyPr vert="horz" lIns="109746" tIns="54873" rIns="109746" bIns="54873" rtlCol="0" anchor="ctr">
            <a:noAutofit/>
          </a:bodyPr>
          <a:lstStyle>
            <a:lvl1pPr>
              <a:defRPr>
                <a:latin typeface="Arial"/>
                <a:cs typeface="Arial"/>
              </a:defRPr>
            </a:lvl1pPr>
          </a:lstStyle>
          <a:p>
            <a:r>
              <a:rPr lang="en-US"/>
              <a:t>Headline Goes Here (maximum one line)</a:t>
            </a:r>
          </a:p>
        </p:txBody>
      </p:sp>
      <p:sp>
        <p:nvSpPr>
          <p:cNvPr id="9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609600" y="1106435"/>
            <a:ext cx="3513848" cy="4954588"/>
          </a:xfrm>
          <a:prstGeom prst="rect">
            <a:avLst/>
          </a:prstGeom>
        </p:spPr>
        <p:txBody>
          <a:bodyPr vert="horz"/>
          <a:lstStyle>
            <a:lvl1pPr marL="0" indent="0">
              <a:spcBef>
                <a:spcPts val="632"/>
              </a:spcBef>
              <a:buClr>
                <a:srgbClr val="69BE28"/>
              </a:buClr>
              <a:buFont typeface="Wingdings" charset="2"/>
              <a:buNone/>
              <a:defRPr sz="2167" b="1" i="0">
                <a:latin typeface="Arial"/>
                <a:cs typeface="Arial"/>
              </a:defRPr>
            </a:lvl1pPr>
            <a:lvl2pPr marL="0" indent="0">
              <a:spcBef>
                <a:spcPts val="632"/>
              </a:spcBef>
              <a:spcAft>
                <a:spcPts val="0"/>
              </a:spcAft>
              <a:buFont typeface="Lucida Grande"/>
              <a:buNone/>
              <a:defRPr sz="1833">
                <a:solidFill>
                  <a:srgbClr val="1E1E1E"/>
                </a:solidFill>
              </a:defRPr>
            </a:lvl2pPr>
            <a:lvl3pPr marL="166709" indent="-166709">
              <a:spcBef>
                <a:spcPts val="632"/>
              </a:spcBef>
              <a:spcAft>
                <a:spcPts val="0"/>
              </a:spcAft>
              <a:buClr>
                <a:schemeClr val="accent1"/>
              </a:buClr>
              <a:buFont typeface="Arial"/>
              <a:buChar char="•"/>
              <a:tabLst/>
              <a:defRPr sz="1583">
                <a:solidFill>
                  <a:srgbClr val="1E1E1E"/>
                </a:solidFill>
              </a:defRPr>
            </a:lvl3pPr>
            <a:lvl4pPr marL="395338" marR="0" indent="-160359" algn="l" defTabSz="401689" rtl="0" eaLnBrk="1" fontAlgn="base" latinLnBrk="0" hangingPunct="1">
              <a:lnSpc>
                <a:spcPct val="100000"/>
              </a:lnSpc>
              <a:spcBef>
                <a:spcPts val="632"/>
              </a:spcBef>
              <a:spcAft>
                <a:spcPts val="0"/>
              </a:spcAft>
              <a:buClrTx/>
              <a:buSzTx/>
              <a:buFont typeface="Arial" charset="0"/>
              <a:buChar char="–"/>
              <a:tabLst/>
              <a:defRPr sz="1417">
                <a:solidFill>
                  <a:srgbClr val="1E1E1E"/>
                </a:solidFill>
              </a:defRPr>
            </a:lvl4pPr>
            <a:lvl5pPr marL="566810" indent="-171471">
              <a:spcBef>
                <a:spcPts val="632"/>
              </a:spcBef>
              <a:spcAft>
                <a:spcPts val="0"/>
              </a:spcAft>
              <a:buFont typeface="Lucida Grande"/>
              <a:buChar char="-"/>
              <a:tabLst/>
              <a:defRPr sz="1167">
                <a:solidFill>
                  <a:srgbClr val="1E1E1E"/>
                </a:solidFill>
              </a:defRPr>
            </a:lvl5pPr>
          </a:lstStyle>
          <a:p>
            <a:pPr lvl="0"/>
            <a:r>
              <a:rPr lang="en-US"/>
              <a:t>Subhead Goes Here – 22pt</a:t>
            </a:r>
          </a:p>
          <a:p>
            <a:pPr lvl="1"/>
            <a:r>
              <a:rPr lang="en-US"/>
              <a:t>Subtopics Go Here – 18pt</a:t>
            </a:r>
          </a:p>
          <a:p>
            <a:pPr lvl="2"/>
            <a:r>
              <a:rPr lang="en-US"/>
              <a:t>Bulleted Subtopics Go Here – 16pt</a:t>
            </a:r>
          </a:p>
          <a:p>
            <a:pPr lvl="3"/>
            <a:r>
              <a:rPr lang="en-US"/>
              <a:t>Only use this level if necessary</a:t>
            </a:r>
          </a:p>
          <a:p>
            <a:pPr lvl="4"/>
            <a:r>
              <a:rPr lang="en-US"/>
              <a:t>You should never have to use this level</a:t>
            </a:r>
          </a:p>
        </p:txBody>
      </p:sp>
      <p:sp>
        <p:nvSpPr>
          <p:cNvPr id="6" name="Text Placeholder 15"/>
          <p:cNvSpPr>
            <a:spLocks noGrp="1"/>
          </p:cNvSpPr>
          <p:nvPr>
            <p:ph type="body" sz="quarter" idx="12" hasCustomPrompt="1"/>
          </p:nvPr>
        </p:nvSpPr>
        <p:spPr>
          <a:xfrm>
            <a:off x="4346754" y="1106435"/>
            <a:ext cx="3513848" cy="4954588"/>
          </a:xfrm>
          <a:prstGeom prst="rect">
            <a:avLst/>
          </a:prstGeom>
        </p:spPr>
        <p:txBody>
          <a:bodyPr vert="horz"/>
          <a:lstStyle>
            <a:lvl1pPr marL="0" indent="0">
              <a:spcBef>
                <a:spcPts val="632"/>
              </a:spcBef>
              <a:buClr>
                <a:srgbClr val="69BE28"/>
              </a:buClr>
              <a:buFont typeface="Wingdings" charset="2"/>
              <a:buNone/>
              <a:defRPr sz="2167" b="1" i="0">
                <a:latin typeface="Arial"/>
                <a:cs typeface="Arial"/>
              </a:defRPr>
            </a:lvl1pPr>
            <a:lvl2pPr marL="0" indent="0">
              <a:spcBef>
                <a:spcPts val="632"/>
              </a:spcBef>
              <a:spcAft>
                <a:spcPts val="0"/>
              </a:spcAft>
              <a:buFont typeface="Lucida Grande"/>
              <a:buNone/>
              <a:defRPr sz="1833">
                <a:solidFill>
                  <a:srgbClr val="1E1E1E"/>
                </a:solidFill>
              </a:defRPr>
            </a:lvl2pPr>
            <a:lvl3pPr marL="166709" indent="-166709">
              <a:spcBef>
                <a:spcPts val="632"/>
              </a:spcBef>
              <a:spcAft>
                <a:spcPts val="0"/>
              </a:spcAft>
              <a:buClr>
                <a:schemeClr val="accent1"/>
              </a:buClr>
              <a:buFont typeface="Arial"/>
              <a:buChar char="•"/>
              <a:tabLst/>
              <a:defRPr sz="1583">
                <a:solidFill>
                  <a:srgbClr val="1E1E1E"/>
                </a:solidFill>
              </a:defRPr>
            </a:lvl3pPr>
            <a:lvl4pPr marL="395338" marR="0" indent="-160359" algn="l" defTabSz="401689" rtl="0" eaLnBrk="1" fontAlgn="base" latinLnBrk="0" hangingPunct="1">
              <a:lnSpc>
                <a:spcPct val="100000"/>
              </a:lnSpc>
              <a:spcBef>
                <a:spcPts val="632"/>
              </a:spcBef>
              <a:spcAft>
                <a:spcPts val="0"/>
              </a:spcAft>
              <a:buClrTx/>
              <a:buSzTx/>
              <a:buFont typeface="Arial" charset="0"/>
              <a:buChar char="–"/>
              <a:tabLst/>
              <a:defRPr sz="1417">
                <a:solidFill>
                  <a:srgbClr val="1E1E1E"/>
                </a:solidFill>
              </a:defRPr>
            </a:lvl4pPr>
            <a:lvl5pPr marL="566810" indent="-171471">
              <a:spcBef>
                <a:spcPts val="632"/>
              </a:spcBef>
              <a:spcAft>
                <a:spcPts val="0"/>
              </a:spcAft>
              <a:buFont typeface="Lucida Grande"/>
              <a:buChar char="-"/>
              <a:tabLst/>
              <a:defRPr sz="1167">
                <a:solidFill>
                  <a:srgbClr val="1E1E1E"/>
                </a:solidFill>
              </a:defRPr>
            </a:lvl5pPr>
          </a:lstStyle>
          <a:p>
            <a:pPr lvl="0"/>
            <a:r>
              <a:rPr lang="en-US"/>
              <a:t>Subhead Goes Here – 22pt</a:t>
            </a:r>
          </a:p>
          <a:p>
            <a:pPr lvl="1"/>
            <a:r>
              <a:rPr lang="en-US"/>
              <a:t>Subtopics Go Here – 18pt</a:t>
            </a:r>
          </a:p>
          <a:p>
            <a:pPr lvl="2"/>
            <a:r>
              <a:rPr lang="en-US"/>
              <a:t>Bulleted Subtopics Go Here – 16pt</a:t>
            </a:r>
          </a:p>
          <a:p>
            <a:pPr lvl="3"/>
            <a:r>
              <a:rPr lang="en-US"/>
              <a:t>Only use this level if necessary</a:t>
            </a:r>
          </a:p>
          <a:p>
            <a:pPr lvl="4"/>
            <a:r>
              <a:rPr lang="en-US"/>
              <a:t>You should never have to use this level</a:t>
            </a:r>
          </a:p>
        </p:txBody>
      </p:sp>
      <p:sp>
        <p:nvSpPr>
          <p:cNvPr id="7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8068553" y="1106435"/>
            <a:ext cx="3513848" cy="4954588"/>
          </a:xfrm>
          <a:prstGeom prst="rect">
            <a:avLst/>
          </a:prstGeom>
        </p:spPr>
        <p:txBody>
          <a:bodyPr vert="horz"/>
          <a:lstStyle>
            <a:lvl1pPr marL="0" indent="0">
              <a:spcBef>
                <a:spcPts val="632"/>
              </a:spcBef>
              <a:buClr>
                <a:srgbClr val="69BE28"/>
              </a:buClr>
              <a:buFont typeface="Wingdings" charset="2"/>
              <a:buNone/>
              <a:defRPr sz="2167" b="1" i="0">
                <a:latin typeface="Arial"/>
                <a:cs typeface="Arial"/>
              </a:defRPr>
            </a:lvl1pPr>
            <a:lvl2pPr marL="0" indent="0">
              <a:spcBef>
                <a:spcPts val="632"/>
              </a:spcBef>
              <a:spcAft>
                <a:spcPts val="0"/>
              </a:spcAft>
              <a:buFont typeface="Lucida Grande"/>
              <a:buNone/>
              <a:defRPr sz="1833">
                <a:solidFill>
                  <a:srgbClr val="1E1E1E"/>
                </a:solidFill>
              </a:defRPr>
            </a:lvl2pPr>
            <a:lvl3pPr marL="166709" indent="-166709">
              <a:spcBef>
                <a:spcPts val="632"/>
              </a:spcBef>
              <a:spcAft>
                <a:spcPts val="0"/>
              </a:spcAft>
              <a:buClr>
                <a:schemeClr val="accent1"/>
              </a:buClr>
              <a:buFont typeface="Arial"/>
              <a:buChar char="•"/>
              <a:tabLst/>
              <a:defRPr sz="1583">
                <a:solidFill>
                  <a:srgbClr val="1E1E1E"/>
                </a:solidFill>
              </a:defRPr>
            </a:lvl3pPr>
            <a:lvl4pPr marL="395338" marR="0" indent="-160359" algn="l" defTabSz="401689" rtl="0" eaLnBrk="1" fontAlgn="base" latinLnBrk="0" hangingPunct="1">
              <a:lnSpc>
                <a:spcPct val="100000"/>
              </a:lnSpc>
              <a:spcBef>
                <a:spcPts val="632"/>
              </a:spcBef>
              <a:spcAft>
                <a:spcPts val="0"/>
              </a:spcAft>
              <a:buClrTx/>
              <a:buSzTx/>
              <a:buFont typeface="Arial" charset="0"/>
              <a:buChar char="–"/>
              <a:tabLst/>
              <a:defRPr sz="1417">
                <a:solidFill>
                  <a:srgbClr val="1E1E1E"/>
                </a:solidFill>
              </a:defRPr>
            </a:lvl4pPr>
            <a:lvl5pPr marL="566810" indent="-171471">
              <a:spcBef>
                <a:spcPts val="632"/>
              </a:spcBef>
              <a:spcAft>
                <a:spcPts val="0"/>
              </a:spcAft>
              <a:buFont typeface="Lucida Grande"/>
              <a:buChar char="-"/>
              <a:tabLst/>
              <a:defRPr sz="1167">
                <a:solidFill>
                  <a:srgbClr val="1E1E1E"/>
                </a:solidFill>
              </a:defRPr>
            </a:lvl5pPr>
          </a:lstStyle>
          <a:p>
            <a:pPr lvl="0"/>
            <a:r>
              <a:rPr lang="en-US"/>
              <a:t>Subhead Goes Here – 22pt</a:t>
            </a:r>
          </a:p>
          <a:p>
            <a:pPr lvl="1"/>
            <a:r>
              <a:rPr lang="en-US"/>
              <a:t>Subtopics Go Here – 18pt</a:t>
            </a:r>
          </a:p>
          <a:p>
            <a:pPr lvl="2"/>
            <a:r>
              <a:rPr lang="en-US"/>
              <a:t>Bulleted Subtopics Go Here – 16pt</a:t>
            </a:r>
          </a:p>
          <a:p>
            <a:pPr lvl="3"/>
            <a:r>
              <a:rPr lang="en-US"/>
              <a:t>Only use this level if necessary</a:t>
            </a:r>
          </a:p>
          <a:p>
            <a:pPr lvl="4"/>
            <a:r>
              <a:rPr lang="en-US"/>
              <a:t>You should never have to use this level</a:t>
            </a:r>
          </a:p>
        </p:txBody>
      </p:sp>
    </p:spTree>
    <p:extLst>
      <p:ext uri="{BB962C8B-B14F-4D97-AF65-F5344CB8AC3E}">
        <p14:creationId xmlns:p14="http://schemas.microsoft.com/office/powerpoint/2010/main" val="11638141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mp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609600" y="0"/>
            <a:ext cx="10972801" cy="1016000"/>
          </a:xfrm>
          <a:prstGeom prst="rect">
            <a:avLst/>
          </a:prstGeom>
        </p:spPr>
        <p:txBody>
          <a:bodyPr vert="horz" lIns="109741" tIns="54872" rIns="109741" bIns="54872" rtlCol="0" anchor="ctr">
            <a:normAutofit/>
          </a:bodyPr>
          <a:lstStyle>
            <a:lvl1pPr>
              <a:defRPr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/>
          </p:nvPr>
        </p:nvSpPr>
        <p:spPr>
          <a:xfrm>
            <a:off x="609600" y="1106435"/>
            <a:ext cx="10972801" cy="4954588"/>
          </a:xfrm>
          <a:prstGeom prst="rect">
            <a:avLst/>
          </a:prstGeom>
        </p:spPr>
        <p:txBody>
          <a:bodyPr vert="horz" lIns="109741" tIns="54872" rIns="109741" bIns="54872"/>
          <a:lstStyle>
            <a:lvl1pPr marL="0" indent="0">
              <a:spcBef>
                <a:spcPts val="776"/>
              </a:spcBef>
              <a:buClr>
                <a:srgbClr val="69BE28"/>
              </a:buClr>
              <a:buFont typeface="Wingdings" charset="2"/>
              <a:buNone/>
              <a:defRPr sz="2417" b="1" i="0">
                <a:latin typeface="Arial"/>
                <a:cs typeface="Arial"/>
              </a:defRPr>
            </a:lvl1pPr>
            <a:lvl2pPr marL="223858" indent="-223858">
              <a:spcBef>
                <a:spcPts val="776"/>
              </a:spcBef>
              <a:buClr>
                <a:schemeClr val="accent1"/>
              </a:buClr>
              <a:buFont typeface="Wingdings" charset="2"/>
              <a:buChar char="§"/>
              <a:tabLst/>
              <a:defRPr sz="2000">
                <a:solidFill>
                  <a:srgbClr val="818A8F"/>
                </a:solidFill>
              </a:defRPr>
            </a:lvl2pPr>
            <a:lvl3pPr marL="631879" indent="-166702">
              <a:spcBef>
                <a:spcPts val="776"/>
              </a:spcBef>
              <a:spcAft>
                <a:spcPts val="0"/>
              </a:spcAft>
              <a:buFont typeface="Lucida Grande"/>
              <a:buChar char="–"/>
              <a:tabLst/>
              <a:defRPr sz="1917">
                <a:solidFill>
                  <a:srgbClr val="818A8F"/>
                </a:solidFill>
              </a:defRPr>
            </a:lvl3pPr>
            <a:lvl4pPr marL="914477" indent="-171465">
              <a:spcBef>
                <a:spcPts val="776"/>
              </a:spcBef>
              <a:spcAft>
                <a:spcPts val="0"/>
              </a:spcAft>
              <a:defRPr sz="1583">
                <a:solidFill>
                  <a:srgbClr val="818A8F"/>
                </a:solidFill>
              </a:defRPr>
            </a:lvl4pPr>
            <a:lvl5pPr marL="1144685" indent="-176227">
              <a:spcBef>
                <a:spcPts val="776"/>
              </a:spcBef>
              <a:spcAft>
                <a:spcPts val="0"/>
              </a:spcAft>
              <a:buFont typeface="Lucida Grande"/>
              <a:buChar char="-"/>
              <a:defRPr sz="1500">
                <a:solidFill>
                  <a:srgbClr val="818A8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49394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330109" y="6587491"/>
            <a:ext cx="3292518" cy="215444"/>
          </a:xfrm>
          <a:prstGeom prst="rect">
            <a:avLst/>
          </a:prstGeom>
        </p:spPr>
        <p:txBody>
          <a:bodyPr lIns="109746" tIns="54873" rIns="109746" bIns="54873"/>
          <a:lstStyle/>
          <a:p>
            <a:r>
              <a:rPr lang="en-US"/>
              <a:t>The information contained in this presentation is proprietary. Copyright ©2010 Capgemini. All rights reserved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692468" y="6395291"/>
            <a:ext cx="317500" cy="130175"/>
          </a:xfrm>
          <a:prstGeom prst="rect">
            <a:avLst/>
          </a:prstGeom>
        </p:spPr>
        <p:txBody>
          <a:bodyPr lIns="109746" tIns="54873" rIns="109746" bIns="54873"/>
          <a:lstStyle/>
          <a:p>
            <a:fld id="{F4147050-0161-4A8B-8C65-9431945EA02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Rectangle 134"/>
          <p:cNvSpPr>
            <a:spLocks noGrp="1" noChangeArrowheads="1"/>
          </p:cNvSpPr>
          <p:nvPr>
            <p:ph type="title"/>
          </p:nvPr>
        </p:nvSpPr>
        <p:spPr bwMode="auto">
          <a:xfrm>
            <a:off x="321735" y="212727"/>
            <a:ext cx="11618976" cy="549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54873" rIns="109746" bIns="54873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69040357"/>
      </p:ext>
    </p:extLst>
  </p:cSld>
  <p:clrMapOvr>
    <a:masterClrMapping/>
  </p:clrMapOvr>
  <p:transition>
    <p:wipe dir="r"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2318" y="201613"/>
            <a:ext cx="9541933" cy="71596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2318" y="1292227"/>
            <a:ext cx="11527367" cy="48244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AP_Footnote_2007_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203202" y="6721477"/>
            <a:ext cx="1208618" cy="106363"/>
          </a:xfrm>
          <a:prstGeom prst="rect">
            <a:avLst/>
          </a:prstGeom>
          <a:ln/>
        </p:spPr>
        <p:txBody>
          <a:bodyPr lIns="109746" tIns="54873" rIns="109746" bIns="54873"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© SAP 2008 / Page </a:t>
            </a:r>
            <a:fld id="{9E192F64-5EE8-4695-9663-1BAC41CA9B4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3549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0" y="0"/>
          <a:ext cx="21166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9" name="Object 8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 Placeholder 21"/>
          <p:cNvSpPr>
            <a:spLocks noGrp="1"/>
          </p:cNvSpPr>
          <p:nvPr>
            <p:ph type="body" sz="quarter" idx="10" hasCustomPrompt="1"/>
          </p:nvPr>
        </p:nvSpPr>
        <p:spPr>
          <a:xfrm>
            <a:off x="383118" y="295278"/>
            <a:ext cx="11424000" cy="187325"/>
          </a:xfrm>
          <a:prstGeom prst="rect">
            <a:avLst/>
          </a:prstGeom>
          <a:noFill/>
        </p:spPr>
        <p:txBody>
          <a:bodyPr lIns="0" tIns="0" rIns="0" bIns="0" anchor="ctr" anchorCtr="0"/>
          <a:lstStyle>
            <a:lvl1pPr defTabSz="180998">
              <a:defRPr sz="833" b="1"/>
            </a:lvl1pPr>
            <a:lvl3pPr>
              <a:buNone/>
              <a:defRPr/>
            </a:lvl3pPr>
          </a:lstStyle>
          <a:p>
            <a:pPr lvl="0"/>
            <a:r>
              <a:rPr lang="en-US"/>
              <a:t>X	Click to edit Chapter Heading</a:t>
            </a:r>
            <a:endParaRPr lang="de-DE"/>
          </a:p>
        </p:txBody>
      </p:sp>
      <p:sp>
        <p:nvSpPr>
          <p:cNvPr id="29" name="Text Placeholder 28"/>
          <p:cNvSpPr>
            <a:spLocks noGrp="1"/>
          </p:cNvSpPr>
          <p:nvPr>
            <p:ph type="body" sz="quarter" idx="12"/>
          </p:nvPr>
        </p:nvSpPr>
        <p:spPr>
          <a:xfrm>
            <a:off x="383117" y="1484313"/>
            <a:ext cx="11424000" cy="2665412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8" name="Title 17"/>
          <p:cNvSpPr>
            <a:spLocks noGrp="1"/>
          </p:cNvSpPr>
          <p:nvPr>
            <p:ph type="title"/>
          </p:nvPr>
        </p:nvSpPr>
        <p:spPr>
          <a:xfrm>
            <a:off x="383119" y="687389"/>
            <a:ext cx="11424000" cy="466725"/>
          </a:xfrm>
          <a:prstGeom prst="rect">
            <a:avLst/>
          </a:prstGeo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23" name="Date Placeholder 22"/>
          <p:cNvSpPr>
            <a:spLocks noGrp="1"/>
          </p:cNvSpPr>
          <p:nvPr>
            <p:ph type="dt" sz="half" idx="13"/>
          </p:nvPr>
        </p:nvSpPr>
        <p:spPr>
          <a:xfrm rot="16200000">
            <a:off x="11917630" y="6419218"/>
            <a:ext cx="366711" cy="110800"/>
          </a:xfrm>
          <a:prstGeom prst="rect">
            <a:avLst/>
          </a:prstGeom>
        </p:spPr>
        <p:txBody>
          <a:bodyPr lIns="109746" tIns="54873" rIns="109746" bIns="54873"/>
          <a:lstStyle/>
          <a:p>
            <a:r>
              <a:rPr lang="en-US">
                <a:solidFill>
                  <a:prstClr val="black"/>
                </a:solidFill>
                <a:latin typeface="Arial"/>
              </a:rPr>
              <a:t>© Detecon</a:t>
            </a:r>
            <a:endParaRPr lang="de-DE">
              <a:solidFill>
                <a:prstClr val="black"/>
              </a:solidFill>
              <a:latin typeface="Arial"/>
            </a:endParaRPr>
          </a:p>
        </p:txBody>
      </p:sp>
      <p:sp>
        <p:nvSpPr>
          <p:cNvPr id="24" name="Slide Number Placeholder 23"/>
          <p:cNvSpPr>
            <a:spLocks noGrp="1"/>
          </p:cNvSpPr>
          <p:nvPr>
            <p:ph type="sldNum" sz="quarter" idx="14"/>
          </p:nvPr>
        </p:nvSpPr>
        <p:spPr>
          <a:xfrm>
            <a:off x="5837768" y="6558766"/>
            <a:ext cx="491588" cy="138499"/>
          </a:xfrm>
          <a:prstGeom prst="rect">
            <a:avLst/>
          </a:prstGeom>
        </p:spPr>
        <p:txBody>
          <a:bodyPr lIns="109746" tIns="54873" rIns="109746" bIns="54873"/>
          <a:lstStyle/>
          <a:p>
            <a:pPr algn="ctr"/>
            <a:r>
              <a:rPr lang="de-DE">
                <a:solidFill>
                  <a:prstClr val="black"/>
                </a:solidFill>
                <a:latin typeface="Arial"/>
              </a:rPr>
              <a:t>– </a:t>
            </a:r>
            <a:fld id="{0BE42143-7310-4A8F-A2D9-68016CEE3D5A}" type="slidenum">
              <a:rPr lang="de-DE" smtClean="0">
                <a:solidFill>
                  <a:prstClr val="black"/>
                </a:solidFill>
                <a:latin typeface="Arial"/>
              </a:rPr>
              <a:pPr algn="ctr"/>
              <a:t>‹#›</a:t>
            </a:fld>
            <a:r>
              <a:rPr lang="de-DE">
                <a:solidFill>
                  <a:prstClr val="black"/>
                </a:solidFill>
                <a:latin typeface="Arial"/>
              </a:rPr>
              <a:t> –</a:t>
            </a:r>
          </a:p>
        </p:txBody>
      </p:sp>
      <p:sp>
        <p:nvSpPr>
          <p:cNvPr id="25" name="Footer Placeholder 24"/>
          <p:cNvSpPr>
            <a:spLocks noGrp="1"/>
          </p:cNvSpPr>
          <p:nvPr>
            <p:ph type="ftr" sz="quarter" idx="15"/>
          </p:nvPr>
        </p:nvSpPr>
        <p:spPr>
          <a:xfrm rot="16200000">
            <a:off x="-1487646" y="5034123"/>
            <a:ext cx="3136900" cy="110800"/>
          </a:xfrm>
          <a:prstGeom prst="rect">
            <a:avLst/>
          </a:prstGeom>
        </p:spPr>
        <p:txBody>
          <a:bodyPr lIns="109746" tIns="54873" rIns="109746" bIns="54873"/>
          <a:lstStyle/>
          <a:p>
            <a:r>
              <a:rPr lang="de-DE">
                <a:solidFill>
                  <a:prstClr val="black"/>
                </a:solidFill>
                <a:latin typeface="Arial"/>
              </a:rPr>
              <a:t>CHARTPOOL_NEU.PPTX</a:t>
            </a:r>
          </a:p>
        </p:txBody>
      </p:sp>
    </p:spTree>
    <p:extLst>
      <p:ext uri="{BB962C8B-B14F-4D97-AF65-F5344CB8AC3E}">
        <p14:creationId xmlns:p14="http://schemas.microsoft.com/office/powerpoint/2010/main" val="2895300750"/>
      </p:ext>
    </p:extLst>
  </p:cSld>
  <p:clrMapOvr>
    <a:masterClrMapping/>
  </p:clrMapOvr>
  <p:transition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1111347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8"/>
            <a:ext cx="10363200" cy="1470025"/>
          </a:xfrm>
        </p:spPr>
        <p:txBody>
          <a:bodyPr>
            <a:normAutofit/>
          </a:bodyPr>
          <a:lstStyle>
            <a:lvl1pPr>
              <a:defRPr sz="27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88207966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02B3ED8-3C41-4D53-A06A-6FABC9DFC52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62000" y="346053"/>
            <a:ext cx="5334000" cy="6044459"/>
          </a:xfrm>
          <a:custGeom>
            <a:avLst/>
            <a:gdLst>
              <a:gd name="connsiteX0" fmla="*/ 4535638 w 5334000"/>
              <a:gd name="connsiteY0" fmla="*/ 3900218 h 6044458"/>
              <a:gd name="connsiteX1" fmla="*/ 4960607 w 5334000"/>
              <a:gd name="connsiteY1" fmla="*/ 4083266 h 6044458"/>
              <a:gd name="connsiteX2" fmla="*/ 5092165 w 5334000"/>
              <a:gd name="connsiteY2" fmla="*/ 4544007 h 6044458"/>
              <a:gd name="connsiteX3" fmla="*/ 4696466 w 5334000"/>
              <a:gd name="connsiteY3" fmla="*/ 5661398 h 6044458"/>
              <a:gd name="connsiteX4" fmla="*/ 3790154 w 5334000"/>
              <a:gd name="connsiteY4" fmla="*/ 6044451 h 6044458"/>
              <a:gd name="connsiteX5" fmla="*/ 3068522 w 5334000"/>
              <a:gd name="connsiteY5" fmla="*/ 5839139 h 6044458"/>
              <a:gd name="connsiteX6" fmla="*/ 3120546 w 5334000"/>
              <a:gd name="connsiteY6" fmla="*/ 4795112 h 6044458"/>
              <a:gd name="connsiteX7" fmla="*/ 3662289 w 5334000"/>
              <a:gd name="connsiteY7" fmla="*/ 4576583 h 6044458"/>
              <a:gd name="connsiteX8" fmla="*/ 3984220 w 5334000"/>
              <a:gd name="connsiteY8" fmla="*/ 4459772 h 6044458"/>
              <a:gd name="connsiteX9" fmla="*/ 4162283 w 5334000"/>
              <a:gd name="connsiteY9" fmla="*/ 4159575 h 6044458"/>
              <a:gd name="connsiteX10" fmla="*/ 4535638 w 5334000"/>
              <a:gd name="connsiteY10" fmla="*/ 3900218 h 6044458"/>
              <a:gd name="connsiteX11" fmla="*/ 1192216 w 5334000"/>
              <a:gd name="connsiteY11" fmla="*/ 705 h 6044458"/>
              <a:gd name="connsiteX12" fmla="*/ 2135101 w 5334000"/>
              <a:gd name="connsiteY12" fmla="*/ 626995 h 6044458"/>
              <a:gd name="connsiteX13" fmla="*/ 2139595 w 5334000"/>
              <a:gd name="connsiteY13" fmla="*/ 642509 h 6044458"/>
              <a:gd name="connsiteX14" fmla="*/ 2296470 w 5334000"/>
              <a:gd name="connsiteY14" fmla="*/ 605111 h 6044458"/>
              <a:gd name="connsiteX15" fmla="*/ 3625809 w 5334000"/>
              <a:gd name="connsiteY15" fmla="*/ 1173366 h 6044458"/>
              <a:gd name="connsiteX16" fmla="*/ 3943609 w 5334000"/>
              <a:gd name="connsiteY16" fmla="*/ 1690373 h 6044458"/>
              <a:gd name="connsiteX17" fmla="*/ 4556013 w 5334000"/>
              <a:gd name="connsiteY17" fmla="*/ 1768762 h 6044458"/>
              <a:gd name="connsiteX18" fmla="*/ 4739492 w 5334000"/>
              <a:gd name="connsiteY18" fmla="*/ 1811661 h 6044458"/>
              <a:gd name="connsiteX19" fmla="*/ 5308591 w 5334000"/>
              <a:gd name="connsiteY19" fmla="*/ 2774780 h 6044458"/>
              <a:gd name="connsiteX20" fmla="*/ 4301120 w 5334000"/>
              <a:gd name="connsiteY20" fmla="*/ 3441814 h 6044458"/>
              <a:gd name="connsiteX21" fmla="*/ 4256661 w 5334000"/>
              <a:gd name="connsiteY21" fmla="*/ 3434877 h 6044458"/>
              <a:gd name="connsiteX22" fmla="*/ 4250686 w 5334000"/>
              <a:gd name="connsiteY22" fmla="*/ 3498943 h 6044458"/>
              <a:gd name="connsiteX23" fmla="*/ 3575669 w 5334000"/>
              <a:gd name="connsiteY23" fmla="*/ 4432191 h 6044458"/>
              <a:gd name="connsiteX24" fmla="*/ 2654500 w 5334000"/>
              <a:gd name="connsiteY24" fmla="*/ 4606339 h 6044458"/>
              <a:gd name="connsiteX25" fmla="*/ 2581013 w 5334000"/>
              <a:gd name="connsiteY25" fmla="*/ 4600220 h 6044458"/>
              <a:gd name="connsiteX26" fmla="*/ 2555646 w 5334000"/>
              <a:gd name="connsiteY26" fmla="*/ 4698875 h 6044458"/>
              <a:gd name="connsiteX27" fmla="*/ 1307208 w 5334000"/>
              <a:gd name="connsiteY27" fmla="*/ 5617358 h 6044458"/>
              <a:gd name="connsiteX28" fmla="*/ 0 w 5334000"/>
              <a:gd name="connsiteY28" fmla="*/ 4310150 h 6044458"/>
              <a:gd name="connsiteX29" fmla="*/ 298504 w 5334000"/>
              <a:gd name="connsiteY29" fmla="*/ 3478645 h 6044458"/>
              <a:gd name="connsiteX30" fmla="*/ 372841 w 5334000"/>
              <a:gd name="connsiteY30" fmla="*/ 3396853 h 6044458"/>
              <a:gd name="connsiteX31" fmla="*/ 342803 w 5334000"/>
              <a:gd name="connsiteY31" fmla="*/ 3346387 h 6044458"/>
              <a:gd name="connsiteX32" fmla="*/ 210349 w 5334000"/>
              <a:gd name="connsiteY32" fmla="*/ 2675440 h 6044458"/>
              <a:gd name="connsiteX33" fmla="*/ 654177 w 5334000"/>
              <a:gd name="connsiteY33" fmla="*/ 1644014 h 6044458"/>
              <a:gd name="connsiteX34" fmla="*/ 739602 w 5334000"/>
              <a:gd name="connsiteY34" fmla="*/ 1545891 h 6044458"/>
              <a:gd name="connsiteX35" fmla="*/ 736233 w 5334000"/>
              <a:gd name="connsiteY35" fmla="*/ 1537668 h 6044458"/>
              <a:gd name="connsiteX36" fmla="*/ 538404 w 5334000"/>
              <a:gd name="connsiteY36" fmla="*/ 1194615 h 6044458"/>
              <a:gd name="connsiteX37" fmla="*/ 479469 w 5334000"/>
              <a:gd name="connsiteY37" fmla="*/ 1015643 h 6044458"/>
              <a:gd name="connsiteX38" fmla="*/ 1005268 w 5334000"/>
              <a:gd name="connsiteY38" fmla="*/ 28218 h 6044458"/>
              <a:gd name="connsiteX39" fmla="*/ 1192216 w 5334000"/>
              <a:gd name="connsiteY39" fmla="*/ 705 h 60444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5334000" h="6044458">
                <a:moveTo>
                  <a:pt x="4535638" y="3900218"/>
                </a:moveTo>
                <a:cubicBezTo>
                  <a:pt x="4689705" y="3886009"/>
                  <a:pt x="4852375" y="3945534"/>
                  <a:pt x="4960607" y="4083266"/>
                </a:cubicBezTo>
                <a:cubicBezTo>
                  <a:pt x="5061305" y="4211402"/>
                  <a:pt x="5090459" y="4381467"/>
                  <a:pt x="5092165" y="4544007"/>
                </a:cubicBezTo>
                <a:cubicBezTo>
                  <a:pt x="5096297" y="4936640"/>
                  <a:pt x="4971890" y="5371313"/>
                  <a:pt x="4696466" y="5661398"/>
                </a:cubicBezTo>
                <a:cubicBezTo>
                  <a:pt x="4458920" y="5911594"/>
                  <a:pt x="4135063" y="6043581"/>
                  <a:pt x="3790154" y="6044451"/>
                </a:cubicBezTo>
                <a:cubicBezTo>
                  <a:pt x="3539243" y="6045076"/>
                  <a:pt x="3266956" y="6004436"/>
                  <a:pt x="3068522" y="5839139"/>
                </a:cubicBezTo>
                <a:cubicBezTo>
                  <a:pt x="2725145" y="5553103"/>
                  <a:pt x="2773286" y="5054470"/>
                  <a:pt x="3120546" y="4795112"/>
                </a:cubicBezTo>
                <a:cubicBezTo>
                  <a:pt x="3277631" y="4677793"/>
                  <a:pt x="3469874" y="4616229"/>
                  <a:pt x="3662289" y="4576583"/>
                </a:cubicBezTo>
                <a:cubicBezTo>
                  <a:pt x="3775440" y="4553261"/>
                  <a:pt x="3896120" y="4534065"/>
                  <a:pt x="3984220" y="4459772"/>
                </a:cubicBezTo>
                <a:cubicBezTo>
                  <a:pt x="4074158" y="4383937"/>
                  <a:pt x="4112403" y="4265807"/>
                  <a:pt x="4162283" y="4159575"/>
                </a:cubicBezTo>
                <a:cubicBezTo>
                  <a:pt x="4236105" y="4002371"/>
                  <a:pt x="4381570" y="3914427"/>
                  <a:pt x="4535638" y="3900218"/>
                </a:cubicBezTo>
                <a:close/>
                <a:moveTo>
                  <a:pt x="1192216" y="705"/>
                </a:moveTo>
                <a:cubicBezTo>
                  <a:pt x="1598628" y="-15341"/>
                  <a:pt x="2000406" y="243983"/>
                  <a:pt x="2135101" y="626995"/>
                </a:cubicBezTo>
                <a:lnTo>
                  <a:pt x="2139595" y="642509"/>
                </a:lnTo>
                <a:lnTo>
                  <a:pt x="2296470" y="605111"/>
                </a:lnTo>
                <a:cubicBezTo>
                  <a:pt x="2828985" y="504582"/>
                  <a:pt x="3350769" y="624326"/>
                  <a:pt x="3625809" y="1173366"/>
                </a:cubicBezTo>
                <a:cubicBezTo>
                  <a:pt x="3717842" y="1357100"/>
                  <a:pt x="3769880" y="1580650"/>
                  <a:pt x="3943609" y="1690373"/>
                </a:cubicBezTo>
                <a:cubicBezTo>
                  <a:pt x="4119960" y="1801704"/>
                  <a:pt x="4348374" y="1749336"/>
                  <a:pt x="4556013" y="1768762"/>
                </a:cubicBezTo>
                <a:cubicBezTo>
                  <a:pt x="4617673" y="1774463"/>
                  <a:pt x="4679358" y="1789254"/>
                  <a:pt x="4739492" y="1811661"/>
                </a:cubicBezTo>
                <a:cubicBezTo>
                  <a:pt x="5112356" y="1950561"/>
                  <a:pt x="5427229" y="2382337"/>
                  <a:pt x="5308591" y="2774780"/>
                </a:cubicBezTo>
                <a:cubicBezTo>
                  <a:pt x="5179279" y="3202549"/>
                  <a:pt x="4732642" y="3485281"/>
                  <a:pt x="4301120" y="3441814"/>
                </a:cubicBezTo>
                <a:lnTo>
                  <a:pt x="4256661" y="3434877"/>
                </a:lnTo>
                <a:lnTo>
                  <a:pt x="4250686" y="3498943"/>
                </a:lnTo>
                <a:cubicBezTo>
                  <a:pt x="4193952" y="3877935"/>
                  <a:pt x="3968502" y="4227127"/>
                  <a:pt x="3575669" y="4432191"/>
                </a:cubicBezTo>
                <a:cubicBezTo>
                  <a:pt x="3291894" y="4580339"/>
                  <a:pt x="2972668" y="4621974"/>
                  <a:pt x="2654500" y="4606339"/>
                </a:cubicBezTo>
                <a:lnTo>
                  <a:pt x="2581013" y="4600220"/>
                </a:lnTo>
                <a:lnTo>
                  <a:pt x="2555646" y="4698875"/>
                </a:lnTo>
                <a:cubicBezTo>
                  <a:pt x="2390138" y="5230998"/>
                  <a:pt x="1893792" y="5617358"/>
                  <a:pt x="1307208" y="5617358"/>
                </a:cubicBezTo>
                <a:cubicBezTo>
                  <a:pt x="585257" y="5617358"/>
                  <a:pt x="0" y="5032101"/>
                  <a:pt x="0" y="4310150"/>
                </a:cubicBezTo>
                <a:cubicBezTo>
                  <a:pt x="0" y="3994299"/>
                  <a:pt x="112022" y="3704608"/>
                  <a:pt x="298504" y="3478645"/>
                </a:cubicBezTo>
                <a:lnTo>
                  <a:pt x="372841" y="3396853"/>
                </a:lnTo>
                <a:lnTo>
                  <a:pt x="342803" y="3346387"/>
                </a:lnTo>
                <a:cubicBezTo>
                  <a:pt x="243637" y="3151398"/>
                  <a:pt x="193737" y="2924150"/>
                  <a:pt x="210349" y="2675440"/>
                </a:cubicBezTo>
                <a:cubicBezTo>
                  <a:pt x="235934" y="2292152"/>
                  <a:pt x="419044" y="1945162"/>
                  <a:pt x="654177" y="1644014"/>
                </a:cubicBezTo>
                <a:lnTo>
                  <a:pt x="739602" y="1545891"/>
                </a:lnTo>
                <a:lnTo>
                  <a:pt x="736233" y="1537668"/>
                </a:lnTo>
                <a:cubicBezTo>
                  <a:pt x="681017" y="1421153"/>
                  <a:pt x="595628" y="1311724"/>
                  <a:pt x="538404" y="1194615"/>
                </a:cubicBezTo>
                <a:cubicBezTo>
                  <a:pt x="511158" y="1139009"/>
                  <a:pt x="491659" y="1078646"/>
                  <a:pt x="479469" y="1015643"/>
                </a:cubicBezTo>
                <a:cubicBezTo>
                  <a:pt x="403853" y="624998"/>
                  <a:pt x="608462" y="131327"/>
                  <a:pt x="1005268" y="28218"/>
                </a:cubicBezTo>
                <a:cubicBezTo>
                  <a:pt x="1067056" y="12161"/>
                  <a:pt x="1129691" y="3174"/>
                  <a:pt x="1192216" y="705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29463520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900"/>
              </a:spcBef>
              <a:defRPr/>
            </a:lvl1pPr>
            <a:lvl2pPr>
              <a:spcBef>
                <a:spcPts val="900"/>
              </a:spcBef>
              <a:defRPr/>
            </a:lvl2pPr>
            <a:lvl3pPr>
              <a:spcBef>
                <a:spcPts val="900"/>
              </a:spcBef>
              <a:defRPr/>
            </a:lvl3pPr>
            <a:lvl4pPr>
              <a:spcBef>
                <a:spcPts val="900"/>
              </a:spcBef>
              <a:defRPr/>
            </a:lvl4pPr>
            <a:lvl5pPr>
              <a:spcBef>
                <a:spcPts val="900"/>
              </a:spcBef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9666371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4400" y="1452422"/>
            <a:ext cx="10363200" cy="4627563"/>
          </a:xfrm>
        </p:spPr>
        <p:txBody>
          <a:bodyPr/>
          <a:lstStyle>
            <a:lvl1pPr>
              <a:spcBef>
                <a:spcPts val="900"/>
              </a:spcBef>
              <a:defRPr/>
            </a:lvl1pPr>
            <a:lvl2pPr>
              <a:spcBef>
                <a:spcPts val="900"/>
              </a:spcBef>
              <a:defRPr/>
            </a:lvl2pPr>
            <a:lvl3pPr>
              <a:spcBef>
                <a:spcPts val="900"/>
              </a:spcBef>
              <a:defRPr/>
            </a:lvl3pPr>
            <a:lvl4pPr>
              <a:spcBef>
                <a:spcPts val="900"/>
              </a:spcBef>
              <a:defRPr/>
            </a:lvl4pPr>
            <a:lvl5pPr>
              <a:spcBef>
                <a:spcPts val="900"/>
              </a:spcBef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276104182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text 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numCol="2" spcCol="274320">
            <a:normAutofit/>
          </a:bodyPr>
          <a:lstStyle>
            <a:lvl1pPr marL="0" indent="0">
              <a:spcBef>
                <a:spcPts val="900"/>
              </a:spcBef>
              <a:buNone/>
              <a:defRPr sz="1200"/>
            </a:lvl1pPr>
            <a:lvl2pPr marL="171446" indent="-171446">
              <a:spcBef>
                <a:spcPts val="900"/>
              </a:spcBef>
              <a:buFont typeface="Arial" panose="020B0604020202020204" pitchFamily="34" charset="0"/>
              <a:buChar char="•"/>
              <a:defRPr sz="1200"/>
            </a:lvl2pPr>
            <a:lvl3pPr marL="357179" indent="-185733">
              <a:spcBef>
                <a:spcPts val="900"/>
              </a:spcBef>
              <a:buFont typeface="Open Sans Light" panose="020B0306030504020204" pitchFamily="34" charset="0"/>
              <a:buChar char="–"/>
              <a:defRPr sz="1200"/>
            </a:lvl3pPr>
            <a:lvl4pPr marL="514337" indent="-171446">
              <a:spcBef>
                <a:spcPts val="900"/>
              </a:spcBef>
              <a:buFont typeface="Arial" panose="020B0604020202020204" pitchFamily="34" charset="0"/>
              <a:buChar char="•"/>
              <a:defRPr sz="1200"/>
            </a:lvl4pPr>
            <a:lvl5pPr marL="685783" indent="-171446">
              <a:spcBef>
                <a:spcPts val="900"/>
              </a:spcBef>
              <a:buFont typeface="Open Sans Light" panose="020B0306030504020204" pitchFamily="34" charset="0"/>
              <a:buChar char="–"/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20054662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tex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4400" y="1452422"/>
            <a:ext cx="10363200" cy="4627563"/>
          </a:xfrm>
        </p:spPr>
        <p:txBody>
          <a:bodyPr numCol="2" spcCol="274320">
            <a:normAutofit/>
          </a:bodyPr>
          <a:lstStyle>
            <a:lvl1pPr marL="0" indent="0">
              <a:spcBef>
                <a:spcPts val="900"/>
              </a:spcBef>
              <a:buNone/>
              <a:defRPr sz="1200"/>
            </a:lvl1pPr>
            <a:lvl2pPr marL="171446" indent="-171446">
              <a:spcBef>
                <a:spcPts val="900"/>
              </a:spcBef>
              <a:buFont typeface="Arial" panose="020B0604020202020204" pitchFamily="34" charset="0"/>
              <a:buChar char="•"/>
              <a:defRPr sz="1200"/>
            </a:lvl2pPr>
            <a:lvl3pPr marL="342892" indent="-171446">
              <a:spcBef>
                <a:spcPts val="900"/>
              </a:spcBef>
              <a:buFont typeface="Open Sans Light" panose="020B0306030504020204" pitchFamily="34" charset="0"/>
              <a:buChar char="–"/>
              <a:defRPr sz="1200"/>
            </a:lvl3pPr>
            <a:lvl4pPr marL="514337" indent="-171446">
              <a:spcBef>
                <a:spcPts val="900"/>
              </a:spcBef>
              <a:buFont typeface="Arial" panose="020B0604020202020204" pitchFamily="34" charset="0"/>
              <a:buChar char="•"/>
              <a:defRPr sz="1200"/>
            </a:lvl4pPr>
            <a:lvl5pPr marL="685783" indent="-171446">
              <a:spcBef>
                <a:spcPts val="900"/>
              </a:spcBef>
              <a:buFont typeface="Open Sans Light" panose="020B0306030504020204" pitchFamily="34" charset="0"/>
              <a:buChar char="–"/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22894740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4400" y="1452422"/>
            <a:ext cx="5080000" cy="4525963"/>
          </a:xfrm>
        </p:spPr>
        <p:txBody>
          <a:bodyPr>
            <a:normAutofit/>
          </a:bodyPr>
          <a:lstStyle>
            <a:lvl1pPr>
              <a:defRPr sz="15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452422"/>
            <a:ext cx="5080000" cy="4525963"/>
          </a:xfrm>
        </p:spPr>
        <p:txBody>
          <a:bodyPr>
            <a:normAutofit/>
          </a:bodyPr>
          <a:lstStyle>
            <a:lvl1pPr>
              <a:defRPr sz="15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88017365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4400" y="1219202"/>
            <a:ext cx="5080000" cy="4525963"/>
          </a:xfrm>
        </p:spPr>
        <p:txBody>
          <a:bodyPr>
            <a:normAutofit/>
          </a:bodyPr>
          <a:lstStyle>
            <a:lvl1pPr>
              <a:defRPr sz="15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219202"/>
            <a:ext cx="5080000" cy="4525963"/>
          </a:xfrm>
        </p:spPr>
        <p:txBody>
          <a:bodyPr>
            <a:normAutofit/>
          </a:bodyPr>
          <a:lstStyle>
            <a:lvl1pPr>
              <a:defRPr sz="15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5008906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4400" y="1296144"/>
            <a:ext cx="5082117" cy="230832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4400" y="1560285"/>
            <a:ext cx="5082117" cy="4565877"/>
          </a:xfrm>
        </p:spPr>
        <p:txBody>
          <a:bodyPr>
            <a:normAutofit/>
          </a:bodyPr>
          <a:lstStyle>
            <a:lvl1pPr>
              <a:defRPr sz="15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9" y="1296144"/>
            <a:ext cx="5084232" cy="230832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9" y="1560285"/>
            <a:ext cx="5084232" cy="4565877"/>
          </a:xfrm>
        </p:spPr>
        <p:txBody>
          <a:bodyPr>
            <a:normAutofit/>
          </a:bodyPr>
          <a:lstStyle>
            <a:lvl1pPr>
              <a:defRPr sz="15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7040530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mparison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4400" y="1539228"/>
            <a:ext cx="5082117" cy="230832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4400" y="1803372"/>
            <a:ext cx="5082117" cy="4368831"/>
          </a:xfrm>
        </p:spPr>
        <p:txBody>
          <a:bodyPr>
            <a:normAutofit/>
          </a:bodyPr>
          <a:lstStyle>
            <a:lvl1pPr>
              <a:defRPr sz="15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9" y="1539228"/>
            <a:ext cx="5084232" cy="230832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9" y="1803372"/>
            <a:ext cx="5084232" cy="4368831"/>
          </a:xfrm>
        </p:spPr>
        <p:txBody>
          <a:bodyPr>
            <a:normAutofit/>
          </a:bodyPr>
          <a:lstStyle>
            <a:lvl1pPr>
              <a:defRPr sz="15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4192273931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94810631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43536846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84FB8671-60A0-4840-AB39-AF23E61E1C04}"/>
              </a:ext>
            </a:extLst>
          </p:cNvPr>
          <p:cNvGrpSpPr/>
          <p:nvPr userDrawn="1"/>
        </p:nvGrpSpPr>
        <p:grpSpPr>
          <a:xfrm>
            <a:off x="1542612" y="3929577"/>
            <a:ext cx="1750475" cy="1271627"/>
            <a:chOff x="1337701" y="2452986"/>
            <a:chExt cx="4621489" cy="3357264"/>
          </a:xfrm>
        </p:grpSpPr>
        <p:sp>
          <p:nvSpPr>
            <p:cNvPr id="6" name="Freeform: Shape 54">
              <a:extLst>
                <a:ext uri="{FF2B5EF4-FFF2-40B4-BE49-F238E27FC236}">
                  <a16:creationId xmlns:a16="http://schemas.microsoft.com/office/drawing/2014/main" id="{C8272EF9-20F6-4881-8744-4F717F44755D}"/>
                </a:ext>
              </a:extLst>
            </p:cNvPr>
            <p:cNvSpPr/>
            <p:nvPr/>
          </p:nvSpPr>
          <p:spPr>
            <a:xfrm>
              <a:off x="1337701" y="3001979"/>
              <a:ext cx="4621489" cy="2808271"/>
            </a:xfrm>
            <a:custGeom>
              <a:avLst/>
              <a:gdLst>
                <a:gd name="connsiteX0" fmla="*/ 996059 w 1990725"/>
                <a:gd name="connsiteY0" fmla="*/ 1124561 h 1209675"/>
                <a:gd name="connsiteX1" fmla="*/ 1418007 w 1990725"/>
                <a:gd name="connsiteY1" fmla="*/ 927194 h 1209675"/>
                <a:gd name="connsiteX2" fmla="*/ 1913078 w 1990725"/>
                <a:gd name="connsiteY2" fmla="*/ 1022653 h 1209675"/>
                <a:gd name="connsiteX3" fmla="*/ 1960856 w 1990725"/>
                <a:gd name="connsiteY3" fmla="*/ 714377 h 1209675"/>
                <a:gd name="connsiteX4" fmla="*/ 1780985 w 1990725"/>
                <a:gd name="connsiteY4" fmla="*/ 507551 h 1209675"/>
                <a:gd name="connsiteX5" fmla="*/ 1601058 w 1990725"/>
                <a:gd name="connsiteY5" fmla="*/ 281665 h 1209675"/>
                <a:gd name="connsiteX6" fmla="*/ 1445639 w 1990725"/>
                <a:gd name="connsiteY6" fmla="*/ 51113 h 1209675"/>
                <a:gd name="connsiteX7" fmla="*/ 1197665 w 1990725"/>
                <a:gd name="connsiteY7" fmla="*/ 14642 h 1209675"/>
                <a:gd name="connsiteX8" fmla="*/ 573168 w 1990725"/>
                <a:gd name="connsiteY8" fmla="*/ 469432 h 1209675"/>
                <a:gd name="connsiteX9" fmla="*/ 213685 w 1990725"/>
                <a:gd name="connsiteY9" fmla="*/ 379401 h 1209675"/>
                <a:gd name="connsiteX10" fmla="*/ 28795 w 1990725"/>
                <a:gd name="connsiteY10" fmla="*/ 543089 h 1209675"/>
                <a:gd name="connsiteX11" fmla="*/ 74229 w 1990725"/>
                <a:gd name="connsiteY11" fmla="*/ 947168 h 1209675"/>
                <a:gd name="connsiteX12" fmla="*/ 658769 w 1990725"/>
                <a:gd name="connsiteY12" fmla="*/ 1211896 h 1209675"/>
                <a:gd name="connsiteX13" fmla="*/ 983610 w 1990725"/>
                <a:gd name="connsiteY13" fmla="*/ 1130838 h 1209675"/>
                <a:gd name="connsiteX14" fmla="*/ 996059 w 1990725"/>
                <a:gd name="connsiteY14" fmla="*/ 1124561 h 1209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990725" h="1209675">
                  <a:moveTo>
                    <a:pt x="996059" y="1124561"/>
                  </a:moveTo>
                  <a:cubicBezTo>
                    <a:pt x="1129456" y="1054438"/>
                    <a:pt x="1248776" y="900028"/>
                    <a:pt x="1418007" y="927194"/>
                  </a:cubicBezTo>
                  <a:cubicBezTo>
                    <a:pt x="1579741" y="953159"/>
                    <a:pt x="1749029" y="1148364"/>
                    <a:pt x="1913078" y="1022653"/>
                  </a:cubicBezTo>
                  <a:cubicBezTo>
                    <a:pt x="2011081" y="947539"/>
                    <a:pt x="2007795" y="816885"/>
                    <a:pt x="1960856" y="714377"/>
                  </a:cubicBezTo>
                  <a:cubicBezTo>
                    <a:pt x="1921813" y="629137"/>
                    <a:pt x="1850194" y="567730"/>
                    <a:pt x="1780985" y="507551"/>
                  </a:cubicBezTo>
                  <a:cubicBezTo>
                    <a:pt x="1707348" y="443524"/>
                    <a:pt x="1646378" y="368124"/>
                    <a:pt x="1601058" y="281665"/>
                  </a:cubicBezTo>
                  <a:cubicBezTo>
                    <a:pt x="1558177" y="199846"/>
                    <a:pt x="1521505" y="108844"/>
                    <a:pt x="1445639" y="51113"/>
                  </a:cubicBezTo>
                  <a:cubicBezTo>
                    <a:pt x="1375621" y="-2161"/>
                    <a:pt x="1282275" y="-12838"/>
                    <a:pt x="1197665" y="14642"/>
                  </a:cubicBezTo>
                  <a:cubicBezTo>
                    <a:pt x="954958" y="93451"/>
                    <a:pt x="849412" y="481471"/>
                    <a:pt x="573168" y="469432"/>
                  </a:cubicBezTo>
                  <a:cubicBezTo>
                    <a:pt x="448190" y="463983"/>
                    <a:pt x="338729" y="357627"/>
                    <a:pt x="213685" y="379401"/>
                  </a:cubicBezTo>
                  <a:cubicBezTo>
                    <a:pt x="134665" y="393165"/>
                    <a:pt x="63961" y="460050"/>
                    <a:pt x="28795" y="543089"/>
                  </a:cubicBezTo>
                  <a:cubicBezTo>
                    <a:pt x="-24240" y="668333"/>
                    <a:pt x="-1085" y="834992"/>
                    <a:pt x="74229" y="947168"/>
                  </a:cubicBezTo>
                  <a:cubicBezTo>
                    <a:pt x="201750" y="1137096"/>
                    <a:pt x="437684" y="1217916"/>
                    <a:pt x="658769" y="1211896"/>
                  </a:cubicBezTo>
                  <a:cubicBezTo>
                    <a:pt x="769230" y="1208886"/>
                    <a:pt x="882197" y="1179930"/>
                    <a:pt x="983610" y="1130838"/>
                  </a:cubicBezTo>
                  <a:cubicBezTo>
                    <a:pt x="987782" y="1128828"/>
                    <a:pt x="991925" y="1126733"/>
                    <a:pt x="996059" y="1124561"/>
                  </a:cubicBez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D" sz="1351"/>
            </a:p>
          </p:txBody>
        </p:sp>
        <p:grpSp>
          <p:nvGrpSpPr>
            <p:cNvPr id="8" name="Graphic 1070">
              <a:extLst>
                <a:ext uri="{FF2B5EF4-FFF2-40B4-BE49-F238E27FC236}">
                  <a16:creationId xmlns:a16="http://schemas.microsoft.com/office/drawing/2014/main" id="{FE843BBD-35EC-49A0-AC58-397CDFF39401}"/>
                </a:ext>
              </a:extLst>
            </p:cNvPr>
            <p:cNvGrpSpPr/>
            <p:nvPr/>
          </p:nvGrpSpPr>
          <p:grpSpPr>
            <a:xfrm>
              <a:off x="1729810" y="2573092"/>
              <a:ext cx="3837270" cy="3098411"/>
              <a:chOff x="4144479" y="1632997"/>
              <a:chExt cx="1533525" cy="1238250"/>
            </a:xfrm>
            <a:solidFill>
              <a:schemeClr val="accent1"/>
            </a:solidFill>
            <a:effectLst/>
          </p:grpSpPr>
          <p:sp>
            <p:nvSpPr>
              <p:cNvPr id="12" name="Freeform: Shape 58">
                <a:extLst>
                  <a:ext uri="{FF2B5EF4-FFF2-40B4-BE49-F238E27FC236}">
                    <a16:creationId xmlns:a16="http://schemas.microsoft.com/office/drawing/2014/main" id="{C306F12D-C136-4786-BC5B-F7F2A117F339}"/>
                  </a:ext>
                </a:extLst>
              </p:cNvPr>
              <p:cNvSpPr/>
              <p:nvPr/>
            </p:nvSpPr>
            <p:spPr>
              <a:xfrm>
                <a:off x="4144479" y="1632997"/>
                <a:ext cx="1533525" cy="1238250"/>
              </a:xfrm>
              <a:custGeom>
                <a:avLst/>
                <a:gdLst>
                  <a:gd name="connsiteX0" fmla="*/ 930994 w 1533525"/>
                  <a:gd name="connsiteY0" fmla="*/ 32897 h 1238250"/>
                  <a:gd name="connsiteX1" fmla="*/ 1130790 w 1533525"/>
                  <a:gd name="connsiteY1" fmla="*/ 277328 h 1238250"/>
                  <a:gd name="connsiteX2" fmla="*/ 1221211 w 1533525"/>
                  <a:gd name="connsiteY2" fmla="*/ 522330 h 1238250"/>
                  <a:gd name="connsiteX3" fmla="*/ 1443134 w 1533525"/>
                  <a:gd name="connsiteY3" fmla="*/ 730994 h 1238250"/>
                  <a:gd name="connsiteX4" fmla="*/ 1477729 w 1533525"/>
                  <a:gd name="connsiteY4" fmla="*/ 1119719 h 1238250"/>
                  <a:gd name="connsiteX5" fmla="*/ 1158098 w 1533525"/>
                  <a:gd name="connsiteY5" fmla="*/ 1192614 h 1238250"/>
                  <a:gd name="connsiteX6" fmla="*/ 772688 w 1533525"/>
                  <a:gd name="connsiteY6" fmla="*/ 1087962 h 1238250"/>
                  <a:gd name="connsiteX7" fmla="*/ 496397 w 1533525"/>
                  <a:gd name="connsiteY7" fmla="*/ 1189804 h 1238250"/>
                  <a:gd name="connsiteX8" fmla="*/ 115 w 1533525"/>
                  <a:gd name="connsiteY8" fmla="*/ 959889 h 1238250"/>
                  <a:gd name="connsiteX9" fmla="*/ 199026 w 1533525"/>
                  <a:gd name="connsiteY9" fmla="*/ 661700 h 1238250"/>
                  <a:gd name="connsiteX10" fmla="*/ 399946 w 1533525"/>
                  <a:gd name="connsiteY10" fmla="*/ 392657 h 1238250"/>
                  <a:gd name="connsiteX11" fmla="*/ 930994 w 1533525"/>
                  <a:gd name="connsiteY11" fmla="*/ 32897 h 1238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533525" h="1238250">
                    <a:moveTo>
                      <a:pt x="930994" y="32897"/>
                    </a:moveTo>
                    <a:cubicBezTo>
                      <a:pt x="1011137" y="67825"/>
                      <a:pt x="1104692" y="193898"/>
                      <a:pt x="1130790" y="277328"/>
                    </a:cubicBezTo>
                    <a:cubicBezTo>
                      <a:pt x="1156889" y="360757"/>
                      <a:pt x="1172748" y="449568"/>
                      <a:pt x="1221211" y="522330"/>
                    </a:cubicBezTo>
                    <a:cubicBezTo>
                      <a:pt x="1277694" y="607112"/>
                      <a:pt x="1371030" y="659023"/>
                      <a:pt x="1443134" y="730994"/>
                    </a:cubicBezTo>
                    <a:cubicBezTo>
                      <a:pt x="1515238" y="802965"/>
                      <a:pt x="1595496" y="976720"/>
                      <a:pt x="1477729" y="1119719"/>
                    </a:cubicBezTo>
                    <a:cubicBezTo>
                      <a:pt x="1404739" y="1208358"/>
                      <a:pt x="1250624" y="1231866"/>
                      <a:pt x="1158098" y="1192614"/>
                    </a:cubicBezTo>
                    <a:cubicBezTo>
                      <a:pt x="1041531" y="1143160"/>
                      <a:pt x="899123" y="1081000"/>
                      <a:pt x="772688" y="1087962"/>
                    </a:cubicBezTo>
                    <a:cubicBezTo>
                      <a:pt x="680753" y="1093030"/>
                      <a:pt x="576502" y="1144417"/>
                      <a:pt x="496397" y="1189804"/>
                    </a:cubicBezTo>
                    <a:cubicBezTo>
                      <a:pt x="328166" y="1285130"/>
                      <a:pt x="11336" y="1279529"/>
                      <a:pt x="115" y="959889"/>
                    </a:cubicBezTo>
                    <a:cubicBezTo>
                      <a:pt x="-3914" y="844865"/>
                      <a:pt x="98251" y="735585"/>
                      <a:pt x="199026" y="661700"/>
                    </a:cubicBezTo>
                    <a:cubicBezTo>
                      <a:pt x="297400" y="589586"/>
                      <a:pt x="361218" y="509843"/>
                      <a:pt x="399946" y="392657"/>
                    </a:cubicBezTo>
                    <a:cubicBezTo>
                      <a:pt x="560890" y="-94338"/>
                      <a:pt x="838477" y="-7422"/>
                      <a:pt x="930994" y="3289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D" sz="1351"/>
              </a:p>
            </p:txBody>
          </p:sp>
          <p:grpSp>
            <p:nvGrpSpPr>
              <p:cNvPr id="14" name="Graphic 1070">
                <a:extLst>
                  <a:ext uri="{FF2B5EF4-FFF2-40B4-BE49-F238E27FC236}">
                    <a16:creationId xmlns:a16="http://schemas.microsoft.com/office/drawing/2014/main" id="{0999912B-E299-4056-A797-E7C2153D3EF2}"/>
                  </a:ext>
                </a:extLst>
              </p:cNvPr>
              <p:cNvGrpSpPr/>
              <p:nvPr/>
            </p:nvGrpSpPr>
            <p:grpSpPr>
              <a:xfrm>
                <a:off x="4512916" y="2447077"/>
                <a:ext cx="800100" cy="19050"/>
                <a:chOff x="4512916" y="2447077"/>
                <a:chExt cx="800100" cy="19050"/>
              </a:xfrm>
              <a:grpFill/>
            </p:grpSpPr>
            <p:sp>
              <p:nvSpPr>
                <p:cNvPr id="15" name="Freeform: Shape 60">
                  <a:extLst>
                    <a:ext uri="{FF2B5EF4-FFF2-40B4-BE49-F238E27FC236}">
                      <a16:creationId xmlns:a16="http://schemas.microsoft.com/office/drawing/2014/main" id="{3869474E-9EF1-4916-94DD-D582088D60E4}"/>
                    </a:ext>
                  </a:extLst>
                </p:cNvPr>
                <p:cNvSpPr/>
                <p:nvPr/>
              </p:nvSpPr>
              <p:spPr>
                <a:xfrm>
                  <a:off x="4512916" y="2447077"/>
                  <a:ext cx="19050" cy="19050"/>
                </a:xfrm>
                <a:custGeom>
                  <a:avLst/>
                  <a:gdLst>
                    <a:gd name="connsiteX0" fmla="*/ 23031 w 19050"/>
                    <a:gd name="connsiteY0" fmla="*/ 11516 h 19050"/>
                    <a:gd name="connsiteX1" fmla="*/ 11516 w 19050"/>
                    <a:gd name="connsiteY1" fmla="*/ 23031 h 19050"/>
                    <a:gd name="connsiteX2" fmla="*/ 0 w 19050"/>
                    <a:gd name="connsiteY2" fmla="*/ 11516 h 19050"/>
                    <a:gd name="connsiteX3" fmla="*/ 11516 w 19050"/>
                    <a:gd name="connsiteY3" fmla="*/ 0 h 19050"/>
                    <a:gd name="connsiteX4" fmla="*/ 23031 w 19050"/>
                    <a:gd name="connsiteY4" fmla="*/ 11516 h 190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9050" h="19050">
                      <a:moveTo>
                        <a:pt x="23031" y="11516"/>
                      </a:moveTo>
                      <a:cubicBezTo>
                        <a:pt x="23031" y="17876"/>
                        <a:pt x="17876" y="23031"/>
                        <a:pt x="11516" y="23031"/>
                      </a:cubicBezTo>
                      <a:cubicBezTo>
                        <a:pt x="5156" y="23031"/>
                        <a:pt x="0" y="17876"/>
                        <a:pt x="0" y="11516"/>
                      </a:cubicBezTo>
                      <a:cubicBezTo>
                        <a:pt x="0" y="5156"/>
                        <a:pt x="5156" y="0"/>
                        <a:pt x="11516" y="0"/>
                      </a:cubicBezTo>
                      <a:cubicBezTo>
                        <a:pt x="17876" y="0"/>
                        <a:pt x="23031" y="5156"/>
                        <a:pt x="23031" y="11516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ID" sz="1351"/>
                </a:p>
              </p:txBody>
            </p:sp>
            <p:sp>
              <p:nvSpPr>
                <p:cNvPr id="16" name="Freeform: Shape 61">
                  <a:extLst>
                    <a:ext uri="{FF2B5EF4-FFF2-40B4-BE49-F238E27FC236}">
                      <a16:creationId xmlns:a16="http://schemas.microsoft.com/office/drawing/2014/main" id="{E67D04D0-3ABD-4341-A78F-36091201CC26}"/>
                    </a:ext>
                  </a:extLst>
                </p:cNvPr>
                <p:cNvSpPr/>
                <p:nvPr/>
              </p:nvSpPr>
              <p:spPr>
                <a:xfrm>
                  <a:off x="5294376" y="2447077"/>
                  <a:ext cx="19050" cy="19050"/>
                </a:xfrm>
                <a:custGeom>
                  <a:avLst/>
                  <a:gdLst>
                    <a:gd name="connsiteX0" fmla="*/ 23031 w 19050"/>
                    <a:gd name="connsiteY0" fmla="*/ 11516 h 19050"/>
                    <a:gd name="connsiteX1" fmla="*/ 11516 w 19050"/>
                    <a:gd name="connsiteY1" fmla="*/ 23031 h 19050"/>
                    <a:gd name="connsiteX2" fmla="*/ 0 w 19050"/>
                    <a:gd name="connsiteY2" fmla="*/ 11516 h 19050"/>
                    <a:gd name="connsiteX3" fmla="*/ 11516 w 19050"/>
                    <a:gd name="connsiteY3" fmla="*/ 0 h 19050"/>
                    <a:gd name="connsiteX4" fmla="*/ 23031 w 19050"/>
                    <a:gd name="connsiteY4" fmla="*/ 11516 h 190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9050" h="19050">
                      <a:moveTo>
                        <a:pt x="23031" y="11516"/>
                      </a:moveTo>
                      <a:cubicBezTo>
                        <a:pt x="23031" y="17876"/>
                        <a:pt x="17876" y="23031"/>
                        <a:pt x="11516" y="23031"/>
                      </a:cubicBezTo>
                      <a:cubicBezTo>
                        <a:pt x="5156" y="23031"/>
                        <a:pt x="0" y="17876"/>
                        <a:pt x="0" y="11516"/>
                      </a:cubicBezTo>
                      <a:cubicBezTo>
                        <a:pt x="0" y="5156"/>
                        <a:pt x="5156" y="0"/>
                        <a:pt x="11516" y="0"/>
                      </a:cubicBezTo>
                      <a:cubicBezTo>
                        <a:pt x="17876" y="0"/>
                        <a:pt x="23031" y="5156"/>
                        <a:pt x="23031" y="11516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ID" sz="1351"/>
                </a:p>
              </p:txBody>
            </p:sp>
          </p:grpSp>
        </p:grpSp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CF7A10DC-60C8-4530-BBBB-4F2500848C60}"/>
                </a:ext>
              </a:extLst>
            </p:cNvPr>
            <p:cNvSpPr/>
            <p:nvPr/>
          </p:nvSpPr>
          <p:spPr>
            <a:xfrm>
              <a:off x="1994105" y="3093711"/>
              <a:ext cx="555168" cy="555168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351"/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2274B58B-2D47-497F-9E8D-1B4DA2C74B77}"/>
                </a:ext>
              </a:extLst>
            </p:cNvPr>
            <p:cNvSpPr/>
            <p:nvPr/>
          </p:nvSpPr>
          <p:spPr>
            <a:xfrm>
              <a:off x="2359853" y="2452986"/>
              <a:ext cx="555168" cy="555168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351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B9FEB9B9-EE99-4705-A2F4-F30F75F0B9B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350711" y="3971747"/>
            <a:ext cx="1279392" cy="1279392"/>
          </a:xfrm>
          <a:custGeom>
            <a:avLst/>
            <a:gdLst>
              <a:gd name="connsiteX0" fmla="*/ 639696 w 1279392"/>
              <a:gd name="connsiteY0" fmla="*/ 0 h 1279392"/>
              <a:gd name="connsiteX1" fmla="*/ 1279392 w 1279392"/>
              <a:gd name="connsiteY1" fmla="*/ 639696 h 1279392"/>
              <a:gd name="connsiteX2" fmla="*/ 639696 w 1279392"/>
              <a:gd name="connsiteY2" fmla="*/ 1279392 h 1279392"/>
              <a:gd name="connsiteX3" fmla="*/ 0 w 1279392"/>
              <a:gd name="connsiteY3" fmla="*/ 639696 h 1279392"/>
              <a:gd name="connsiteX4" fmla="*/ 639696 w 1279392"/>
              <a:gd name="connsiteY4" fmla="*/ 0 h 12793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79392" h="1279392">
                <a:moveTo>
                  <a:pt x="639696" y="0"/>
                </a:moveTo>
                <a:cubicBezTo>
                  <a:pt x="992990" y="0"/>
                  <a:pt x="1279392" y="286402"/>
                  <a:pt x="1279392" y="639696"/>
                </a:cubicBezTo>
                <a:cubicBezTo>
                  <a:pt x="1279392" y="992990"/>
                  <a:pt x="992990" y="1279392"/>
                  <a:pt x="639696" y="1279392"/>
                </a:cubicBezTo>
                <a:cubicBezTo>
                  <a:pt x="286402" y="1279392"/>
                  <a:pt x="0" y="992990"/>
                  <a:pt x="0" y="639696"/>
                </a:cubicBezTo>
                <a:cubicBezTo>
                  <a:pt x="0" y="286402"/>
                  <a:pt x="286402" y="0"/>
                  <a:pt x="639696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 sz="1800"/>
            </a:lvl1pPr>
          </a:lstStyle>
          <a:p>
            <a:endParaRPr lang="en-ID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166088C3-9D31-443E-939F-70BD7A1A958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390567" y="568583"/>
            <a:ext cx="4982283" cy="5720832"/>
          </a:xfrm>
          <a:custGeom>
            <a:avLst/>
            <a:gdLst>
              <a:gd name="connsiteX0" fmla="*/ 3707269 w 4982282"/>
              <a:gd name="connsiteY0" fmla="*/ 848 h 5720832"/>
              <a:gd name="connsiteX1" fmla="*/ 4305720 w 4982282"/>
              <a:gd name="connsiteY1" fmla="*/ 145155 h 5720832"/>
              <a:gd name="connsiteX2" fmla="*/ 4860901 w 4982282"/>
              <a:gd name="connsiteY2" fmla="*/ 1658471 h 5720832"/>
              <a:gd name="connsiteX3" fmla="*/ 4402338 w 4982282"/>
              <a:gd name="connsiteY3" fmla="*/ 2544263 h 5720832"/>
              <a:gd name="connsiteX4" fmla="*/ 4920114 w 4982282"/>
              <a:gd name="connsiteY4" fmla="*/ 3482163 h 5720832"/>
              <a:gd name="connsiteX5" fmla="*/ 3827973 w 4982282"/>
              <a:gd name="connsiteY5" fmla="*/ 4856289 h 5720832"/>
              <a:gd name="connsiteX6" fmla="*/ 3675042 w 4982282"/>
              <a:gd name="connsiteY6" fmla="*/ 4820916 h 5720832"/>
              <a:gd name="connsiteX7" fmla="*/ 3630410 w 4982282"/>
              <a:gd name="connsiteY7" fmla="*/ 4913565 h 5720832"/>
              <a:gd name="connsiteX8" fmla="*/ 2274058 w 4982282"/>
              <a:gd name="connsiteY8" fmla="*/ 5720832 h 5720832"/>
              <a:gd name="connsiteX9" fmla="*/ 731531 w 4982282"/>
              <a:gd name="connsiteY9" fmla="*/ 4178306 h 5720832"/>
              <a:gd name="connsiteX10" fmla="*/ 733144 w 4982282"/>
              <a:gd name="connsiteY10" fmla="*/ 4146359 h 5720832"/>
              <a:gd name="connsiteX11" fmla="*/ 648049 w 4982282"/>
              <a:gd name="connsiteY11" fmla="*/ 4131827 h 5720832"/>
              <a:gd name="connsiteX12" fmla="*/ 519681 w 4982282"/>
              <a:gd name="connsiteY12" fmla="*/ 4098945 h 5720832"/>
              <a:gd name="connsiteX13" fmla="*/ 111727 w 4982282"/>
              <a:gd name="connsiteY13" fmla="*/ 3847071 h 5720832"/>
              <a:gd name="connsiteX14" fmla="*/ 198638 w 4982282"/>
              <a:gd name="connsiteY14" fmla="*/ 3053758 h 5720832"/>
              <a:gd name="connsiteX15" fmla="*/ 673905 w 4982282"/>
              <a:gd name="connsiteY15" fmla="*/ 2472952 h 5720832"/>
              <a:gd name="connsiteX16" fmla="*/ 479423 w 4982282"/>
              <a:gd name="connsiteY16" fmla="*/ 1916629 h 5720832"/>
              <a:gd name="connsiteX17" fmla="*/ 426562 w 4982282"/>
              <a:gd name="connsiteY17" fmla="*/ 1343068 h 5720832"/>
              <a:gd name="connsiteX18" fmla="*/ 981707 w 4982282"/>
              <a:gd name="connsiteY18" fmla="*/ 978802 h 5720832"/>
              <a:gd name="connsiteX19" fmla="*/ 1628900 w 4982282"/>
              <a:gd name="connsiteY19" fmla="*/ 951639 h 5720832"/>
              <a:gd name="connsiteX20" fmla="*/ 2526540 w 4982282"/>
              <a:gd name="connsiteY20" fmla="*/ 895998 h 5720832"/>
              <a:gd name="connsiteX21" fmla="*/ 2825168 w 4982282"/>
              <a:gd name="connsiteY21" fmla="*/ 467878 h 5720832"/>
              <a:gd name="connsiteX22" fmla="*/ 3707269 w 4982282"/>
              <a:gd name="connsiteY22" fmla="*/ 848 h 57208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4982282" h="5720832">
                <a:moveTo>
                  <a:pt x="3707269" y="848"/>
                </a:moveTo>
                <a:cubicBezTo>
                  <a:pt x="3915616" y="-6995"/>
                  <a:pt x="4125607" y="39380"/>
                  <a:pt x="4305720" y="145155"/>
                </a:cubicBezTo>
                <a:cubicBezTo>
                  <a:pt x="4786019" y="427225"/>
                  <a:pt x="5040677" y="1131273"/>
                  <a:pt x="4860901" y="1658471"/>
                </a:cubicBezTo>
                <a:cubicBezTo>
                  <a:pt x="4721988" y="2065638"/>
                  <a:pt x="4394380" y="2114107"/>
                  <a:pt x="4402338" y="2544263"/>
                </a:cubicBezTo>
                <a:cubicBezTo>
                  <a:pt x="4412759" y="3107008"/>
                  <a:pt x="4648110" y="2918737"/>
                  <a:pt x="4920114" y="3482163"/>
                </a:cubicBezTo>
                <a:cubicBezTo>
                  <a:pt x="5175448" y="4011044"/>
                  <a:pt x="4611464" y="4962797"/>
                  <a:pt x="3827973" y="4856289"/>
                </a:cubicBezTo>
                <a:lnTo>
                  <a:pt x="3675042" y="4820916"/>
                </a:lnTo>
                <a:lnTo>
                  <a:pt x="3630410" y="4913565"/>
                </a:lnTo>
                <a:cubicBezTo>
                  <a:pt x="3369200" y="5394409"/>
                  <a:pt x="2859748" y="5720832"/>
                  <a:pt x="2274058" y="5720832"/>
                </a:cubicBezTo>
                <a:cubicBezTo>
                  <a:pt x="1422144" y="5720832"/>
                  <a:pt x="731531" y="5030219"/>
                  <a:pt x="731531" y="4178306"/>
                </a:cubicBezTo>
                <a:lnTo>
                  <a:pt x="733144" y="4146359"/>
                </a:lnTo>
                <a:lnTo>
                  <a:pt x="648049" y="4131827"/>
                </a:lnTo>
                <a:cubicBezTo>
                  <a:pt x="604917" y="4122730"/>
                  <a:pt x="562110" y="4111861"/>
                  <a:pt x="519681" y="4098945"/>
                </a:cubicBezTo>
                <a:cubicBezTo>
                  <a:pt x="364460" y="4051656"/>
                  <a:pt x="213091" y="3973813"/>
                  <a:pt x="111727" y="3847071"/>
                </a:cubicBezTo>
                <a:cubicBezTo>
                  <a:pt x="-68405" y="3621822"/>
                  <a:pt x="-24507" y="3237284"/>
                  <a:pt x="198638" y="3053758"/>
                </a:cubicBezTo>
                <a:cubicBezTo>
                  <a:pt x="423923" y="2868413"/>
                  <a:pt x="708095" y="2862167"/>
                  <a:pt x="673905" y="2472952"/>
                </a:cubicBezTo>
                <a:cubicBezTo>
                  <a:pt x="656628" y="2276291"/>
                  <a:pt x="556123" y="2098512"/>
                  <a:pt x="479423" y="1916629"/>
                </a:cubicBezTo>
                <a:cubicBezTo>
                  <a:pt x="402756" y="1734744"/>
                  <a:pt x="349184" y="1524665"/>
                  <a:pt x="426562" y="1343068"/>
                </a:cubicBezTo>
                <a:cubicBezTo>
                  <a:pt x="516898" y="1131130"/>
                  <a:pt x="756099" y="1025379"/>
                  <a:pt x="981707" y="978802"/>
                </a:cubicBezTo>
                <a:cubicBezTo>
                  <a:pt x="1194072" y="934934"/>
                  <a:pt x="1413575" y="925728"/>
                  <a:pt x="1628900" y="951639"/>
                </a:cubicBezTo>
                <a:cubicBezTo>
                  <a:pt x="1935524" y="988544"/>
                  <a:pt x="2282946" y="1085910"/>
                  <a:pt x="2526540" y="895998"/>
                </a:cubicBezTo>
                <a:cubicBezTo>
                  <a:pt x="2664592" y="788350"/>
                  <a:pt x="2728518" y="613857"/>
                  <a:pt x="2825168" y="467878"/>
                </a:cubicBezTo>
                <a:cubicBezTo>
                  <a:pt x="3017344" y="177594"/>
                  <a:pt x="3360024" y="13918"/>
                  <a:pt x="3707269" y="848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 sz="1800"/>
            </a:lvl1pPr>
          </a:lstStyle>
          <a:p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90376723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Utterl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4950857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ight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3063240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049016" y="0"/>
            <a:ext cx="3063240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098032" y="0"/>
            <a:ext cx="3063240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9147048" y="0"/>
            <a:ext cx="3063240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0" y="3419856"/>
            <a:ext cx="3063240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3049016" y="3419856"/>
            <a:ext cx="3063240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6098032" y="3419856"/>
            <a:ext cx="3063240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9147048" y="3419856"/>
            <a:ext cx="3063240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664647921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fteen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437639" y="0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875276" y="0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7312915" y="0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9750552" y="0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0" y="2281428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2437639" y="2281428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4875276" y="2281428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7312915" y="2281428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9750552" y="2281428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0"/>
          </p:nvPr>
        </p:nvSpPr>
        <p:spPr>
          <a:xfrm>
            <a:off x="0" y="4562856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1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2437639" y="4562856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22"/>
          </p:nvPr>
        </p:nvSpPr>
        <p:spPr>
          <a:xfrm>
            <a:off x="4875276" y="4562856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7312915" y="4562856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9750552" y="4562856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6072348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4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028749" y="0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057499" y="0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086247" y="0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10143744" y="0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5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8114996" y="0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8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1709928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2028749" y="1709928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0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4057499" y="1709928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1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6086247" y="1709928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2" name="Picture Placeholder 3"/>
          <p:cNvSpPr>
            <a:spLocks noGrp="1"/>
          </p:cNvSpPr>
          <p:nvPr>
            <p:ph type="pic" sz="quarter" idx="30"/>
          </p:nvPr>
        </p:nvSpPr>
        <p:spPr>
          <a:xfrm>
            <a:off x="10143744" y="1709928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31"/>
          </p:nvPr>
        </p:nvSpPr>
        <p:spPr>
          <a:xfrm>
            <a:off x="8114996" y="1709928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4" name="Picture Placeholder 3"/>
          <p:cNvSpPr>
            <a:spLocks noGrp="1"/>
          </p:cNvSpPr>
          <p:nvPr>
            <p:ph type="pic" sz="quarter" idx="32"/>
          </p:nvPr>
        </p:nvSpPr>
        <p:spPr>
          <a:xfrm>
            <a:off x="0" y="3419856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33"/>
          </p:nvPr>
        </p:nvSpPr>
        <p:spPr>
          <a:xfrm>
            <a:off x="2028749" y="3419856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6" name="Picture Placeholder 3"/>
          <p:cNvSpPr>
            <a:spLocks noGrp="1"/>
          </p:cNvSpPr>
          <p:nvPr>
            <p:ph type="pic" sz="quarter" idx="34"/>
          </p:nvPr>
        </p:nvSpPr>
        <p:spPr>
          <a:xfrm>
            <a:off x="4057499" y="3419856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6086247" y="3419856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8" name="Picture Placeholder 3"/>
          <p:cNvSpPr>
            <a:spLocks noGrp="1"/>
          </p:cNvSpPr>
          <p:nvPr>
            <p:ph type="pic" sz="quarter" idx="36"/>
          </p:nvPr>
        </p:nvSpPr>
        <p:spPr>
          <a:xfrm>
            <a:off x="10143744" y="3419856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9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8114996" y="3419856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0" name="Picture Placeholder 3"/>
          <p:cNvSpPr>
            <a:spLocks noGrp="1"/>
          </p:cNvSpPr>
          <p:nvPr>
            <p:ph type="pic" sz="quarter" idx="38"/>
          </p:nvPr>
        </p:nvSpPr>
        <p:spPr>
          <a:xfrm>
            <a:off x="0" y="5129784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1" name="Picture Placeholder 3"/>
          <p:cNvSpPr>
            <a:spLocks noGrp="1"/>
          </p:cNvSpPr>
          <p:nvPr>
            <p:ph type="pic" sz="quarter" idx="39"/>
          </p:nvPr>
        </p:nvSpPr>
        <p:spPr>
          <a:xfrm>
            <a:off x="2028749" y="5129784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2" name="Picture Placeholder 3"/>
          <p:cNvSpPr>
            <a:spLocks noGrp="1"/>
          </p:cNvSpPr>
          <p:nvPr>
            <p:ph type="pic" sz="quarter" idx="40"/>
          </p:nvPr>
        </p:nvSpPr>
        <p:spPr>
          <a:xfrm>
            <a:off x="4057499" y="5129784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3" name="Picture Placeholder 3"/>
          <p:cNvSpPr>
            <a:spLocks noGrp="1"/>
          </p:cNvSpPr>
          <p:nvPr>
            <p:ph type="pic" sz="quarter" idx="41"/>
          </p:nvPr>
        </p:nvSpPr>
        <p:spPr>
          <a:xfrm>
            <a:off x="6086247" y="5129784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4" name="Picture Placeholder 3"/>
          <p:cNvSpPr>
            <a:spLocks noGrp="1"/>
          </p:cNvSpPr>
          <p:nvPr>
            <p:ph type="pic" sz="quarter" idx="42"/>
          </p:nvPr>
        </p:nvSpPr>
        <p:spPr>
          <a:xfrm>
            <a:off x="10143744" y="5129784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5" name="Picture Placeholder 3"/>
          <p:cNvSpPr>
            <a:spLocks noGrp="1"/>
          </p:cNvSpPr>
          <p:nvPr>
            <p:ph type="pic" sz="quarter" idx="43"/>
          </p:nvPr>
        </p:nvSpPr>
        <p:spPr>
          <a:xfrm>
            <a:off x="8114996" y="5129784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81857360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Image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3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2438400" cy="3407438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556000" y="1397000"/>
            <a:ext cx="2438400" cy="3407438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3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197600" y="1397000"/>
            <a:ext cx="2438400" cy="3407438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5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8839200" y="1397000"/>
            <a:ext cx="2438400" cy="3407438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914400" y="4980567"/>
            <a:ext cx="2438400" cy="958851"/>
          </a:xfrm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114297" indent="-114297">
              <a:buFont typeface="Arial" panose="020B0604020202020204" pitchFamily="34" charset="0"/>
              <a:buChar char="•"/>
              <a:defRPr sz="1050"/>
            </a:lvl2pPr>
            <a:lvl3pPr marL="228594" indent="-114297">
              <a:defRPr sz="1050"/>
            </a:lvl3pPr>
            <a:lvl4pPr marL="400040" indent="-171446">
              <a:defRPr sz="1050"/>
            </a:lvl4pPr>
            <a:lvl5pPr marL="571486" indent="-171446"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556000" y="4980567"/>
            <a:ext cx="2438400" cy="958851"/>
          </a:xfrm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114297" indent="-114297">
              <a:buFont typeface="Arial" panose="020B0604020202020204" pitchFamily="34" charset="0"/>
              <a:buChar char="•"/>
              <a:defRPr sz="1050"/>
            </a:lvl2pPr>
            <a:lvl3pPr marL="228594" indent="-114297">
              <a:defRPr sz="1050"/>
            </a:lvl3pPr>
            <a:lvl4pPr marL="400040" indent="-171446">
              <a:defRPr sz="1050"/>
            </a:lvl4pPr>
            <a:lvl5pPr marL="571486" indent="-171446"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6197600" y="4980567"/>
            <a:ext cx="2438400" cy="958851"/>
          </a:xfrm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114297" indent="-114297">
              <a:buFont typeface="Arial" panose="020B0604020202020204" pitchFamily="34" charset="0"/>
              <a:buChar char="•"/>
              <a:defRPr sz="1050"/>
            </a:lvl2pPr>
            <a:lvl3pPr marL="228594" indent="-114297">
              <a:defRPr sz="1050"/>
            </a:lvl3pPr>
            <a:lvl4pPr marL="400040" indent="-171446">
              <a:defRPr sz="1050"/>
            </a:lvl4pPr>
            <a:lvl5pPr marL="571486" indent="-171446"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8839200" y="4980567"/>
            <a:ext cx="2438400" cy="958851"/>
          </a:xfrm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114297" indent="-114297">
              <a:buFont typeface="Arial" panose="020B0604020202020204" pitchFamily="34" charset="0"/>
              <a:buChar char="•"/>
              <a:defRPr sz="1050"/>
            </a:lvl2pPr>
            <a:lvl3pPr marL="228594" indent="-114297">
              <a:defRPr sz="1050"/>
            </a:lvl3pPr>
            <a:lvl4pPr marL="400040" indent="-171446">
              <a:defRPr sz="1050"/>
            </a:lvl4pPr>
            <a:lvl5pPr marL="571486" indent="-171446"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788323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Image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3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2438400" cy="3407438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556000" y="1397000"/>
            <a:ext cx="2438400" cy="3407438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3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197600" y="1397000"/>
            <a:ext cx="2438400" cy="3407438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5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8839200" y="1397000"/>
            <a:ext cx="2438400" cy="3407438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914400" y="4980567"/>
            <a:ext cx="2438400" cy="958851"/>
          </a:xfrm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114297" indent="-114297">
              <a:buFont typeface="Arial" panose="020B0604020202020204" pitchFamily="34" charset="0"/>
              <a:buChar char="•"/>
              <a:defRPr sz="1050"/>
            </a:lvl2pPr>
            <a:lvl3pPr marL="228594" indent="-114297">
              <a:defRPr sz="1050"/>
            </a:lvl3pPr>
            <a:lvl4pPr marL="400040" indent="-171446">
              <a:defRPr sz="1050"/>
            </a:lvl4pPr>
            <a:lvl5pPr marL="571486" indent="-171446"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556000" y="4980567"/>
            <a:ext cx="2438400" cy="958851"/>
          </a:xfrm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114297" indent="-114297">
              <a:buFont typeface="Arial" panose="020B0604020202020204" pitchFamily="34" charset="0"/>
              <a:buChar char="•"/>
              <a:defRPr sz="1050"/>
            </a:lvl2pPr>
            <a:lvl3pPr marL="228594" indent="-114297">
              <a:defRPr sz="1050"/>
            </a:lvl3pPr>
            <a:lvl4pPr marL="400040" indent="-171446">
              <a:defRPr sz="1050"/>
            </a:lvl4pPr>
            <a:lvl5pPr marL="571486" indent="-171446"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6197600" y="4980567"/>
            <a:ext cx="2438400" cy="958851"/>
          </a:xfrm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114297" indent="-114297">
              <a:buFont typeface="Arial" panose="020B0604020202020204" pitchFamily="34" charset="0"/>
              <a:buChar char="•"/>
              <a:defRPr sz="1050"/>
            </a:lvl2pPr>
            <a:lvl3pPr marL="228594" indent="-114297">
              <a:defRPr sz="1050"/>
            </a:lvl3pPr>
            <a:lvl4pPr marL="400040" indent="-171446">
              <a:defRPr sz="1050"/>
            </a:lvl4pPr>
            <a:lvl5pPr marL="571486" indent="-171446"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8839200" y="4980567"/>
            <a:ext cx="2438400" cy="958851"/>
          </a:xfrm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114297" indent="-114297">
              <a:buFont typeface="Arial" panose="020B0604020202020204" pitchFamily="34" charset="0"/>
              <a:buChar char="•"/>
              <a:defRPr sz="1050"/>
            </a:lvl2pPr>
            <a:lvl3pPr marL="228594" indent="-114297">
              <a:defRPr sz="1050"/>
            </a:lvl3pPr>
            <a:lvl4pPr marL="400040" indent="-171446">
              <a:defRPr sz="1050"/>
            </a:lvl4pPr>
            <a:lvl5pPr marL="571486" indent="-171446"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40950806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3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1"/>
            <a:ext cx="3328416" cy="340743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431792" y="1397001"/>
            <a:ext cx="3328416" cy="340743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4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7949184" y="1397001"/>
            <a:ext cx="3328416" cy="340743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914400" y="4980567"/>
            <a:ext cx="3328416" cy="958851"/>
          </a:xfrm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114297" indent="-114297">
              <a:buFont typeface="Arial" panose="020B0604020202020204" pitchFamily="34" charset="0"/>
              <a:buChar char="•"/>
              <a:defRPr sz="1050"/>
            </a:lvl2pPr>
            <a:lvl3pPr marL="228594" indent="-114297">
              <a:defRPr sz="1050"/>
            </a:lvl3pPr>
            <a:lvl4pPr marL="400040" indent="-171446">
              <a:defRPr sz="1050"/>
            </a:lvl4pPr>
            <a:lvl5pPr marL="571486" indent="-171446"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431792" y="4980567"/>
            <a:ext cx="3328416" cy="958851"/>
          </a:xfrm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114297" indent="-114297">
              <a:buFont typeface="Arial" panose="020B0604020202020204" pitchFamily="34" charset="0"/>
              <a:buChar char="•"/>
              <a:defRPr sz="1050"/>
            </a:lvl2pPr>
            <a:lvl3pPr marL="228594" indent="-114297">
              <a:defRPr sz="1050"/>
            </a:lvl3pPr>
            <a:lvl4pPr marL="400040" indent="-171446">
              <a:defRPr sz="1050"/>
            </a:lvl4pPr>
            <a:lvl5pPr marL="571486" indent="-171446"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949184" y="4980567"/>
            <a:ext cx="3328416" cy="958851"/>
          </a:xfrm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114297" indent="-114297">
              <a:buFont typeface="Arial" panose="020B0604020202020204" pitchFamily="34" charset="0"/>
              <a:buChar char="•"/>
              <a:defRPr sz="1050"/>
            </a:lvl2pPr>
            <a:lvl3pPr marL="228594" indent="-114297">
              <a:defRPr sz="1050"/>
            </a:lvl3pPr>
            <a:lvl4pPr marL="400040" indent="-171446">
              <a:defRPr sz="1050"/>
            </a:lvl4pPr>
            <a:lvl5pPr marL="571486" indent="-171446"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4195378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3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1"/>
            <a:ext cx="3328416" cy="340743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431792" y="1397001"/>
            <a:ext cx="3328416" cy="340743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4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7949184" y="1397001"/>
            <a:ext cx="3328416" cy="340743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914400" y="4980567"/>
            <a:ext cx="3328416" cy="958851"/>
          </a:xfrm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114297" indent="-114297">
              <a:buFont typeface="Arial" panose="020B0604020202020204" pitchFamily="34" charset="0"/>
              <a:buChar char="•"/>
              <a:defRPr sz="1050"/>
            </a:lvl2pPr>
            <a:lvl3pPr marL="228594" indent="-114297">
              <a:defRPr sz="1050"/>
            </a:lvl3pPr>
            <a:lvl4pPr marL="400040" indent="-171446">
              <a:defRPr sz="1050"/>
            </a:lvl4pPr>
            <a:lvl5pPr marL="571486" indent="-171446"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431792" y="4980567"/>
            <a:ext cx="3328416" cy="958851"/>
          </a:xfrm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114297" indent="-114297">
              <a:buFont typeface="Arial" panose="020B0604020202020204" pitchFamily="34" charset="0"/>
              <a:buChar char="•"/>
              <a:defRPr sz="1050"/>
            </a:lvl2pPr>
            <a:lvl3pPr marL="228594" indent="-114297">
              <a:defRPr sz="1050"/>
            </a:lvl3pPr>
            <a:lvl4pPr marL="400040" indent="-171446">
              <a:defRPr sz="1050"/>
            </a:lvl4pPr>
            <a:lvl5pPr marL="571486" indent="-171446"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949184" y="4980567"/>
            <a:ext cx="3328416" cy="958851"/>
          </a:xfrm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114297" indent="-114297">
              <a:buFont typeface="Arial" panose="020B0604020202020204" pitchFamily="34" charset="0"/>
              <a:buChar char="•"/>
              <a:defRPr sz="1050"/>
            </a:lvl2pPr>
            <a:lvl3pPr marL="228594" indent="-114297">
              <a:defRPr sz="1050"/>
            </a:lvl3pPr>
            <a:lvl4pPr marL="400040" indent="-171446">
              <a:defRPr sz="1050"/>
            </a:lvl4pPr>
            <a:lvl5pPr marL="571486" indent="-171446"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916919041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3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1"/>
            <a:ext cx="5085589" cy="340743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192012" y="1397001"/>
            <a:ext cx="5085589" cy="340743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914400" y="4980567"/>
            <a:ext cx="5085589" cy="958851"/>
          </a:xfrm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114297" indent="-114297">
              <a:buFont typeface="Arial" panose="020B0604020202020204" pitchFamily="34" charset="0"/>
              <a:buChar char="•"/>
              <a:defRPr sz="1050"/>
            </a:lvl2pPr>
            <a:lvl3pPr marL="228594" indent="-114297">
              <a:defRPr sz="1050"/>
            </a:lvl3pPr>
            <a:lvl4pPr marL="400040" indent="-171446">
              <a:defRPr sz="1050"/>
            </a:lvl4pPr>
            <a:lvl5pPr marL="571486" indent="-171446"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6192012" y="4980567"/>
            <a:ext cx="5085589" cy="958851"/>
          </a:xfrm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114297" indent="-114297">
              <a:buFont typeface="Arial" panose="020B0604020202020204" pitchFamily="34" charset="0"/>
              <a:buChar char="•"/>
              <a:defRPr sz="1050"/>
            </a:lvl2pPr>
            <a:lvl3pPr marL="228594" indent="-114297">
              <a:defRPr sz="1050"/>
            </a:lvl3pPr>
            <a:lvl4pPr marL="400040" indent="-171446">
              <a:defRPr sz="1050"/>
            </a:lvl4pPr>
            <a:lvl5pPr marL="571486" indent="-171446"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76740523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3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1"/>
            <a:ext cx="5085589" cy="340743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192012" y="1397001"/>
            <a:ext cx="5085589" cy="340743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914400" y="4980567"/>
            <a:ext cx="5085589" cy="958851"/>
          </a:xfrm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114297" indent="-114297">
              <a:buFont typeface="Arial" panose="020B0604020202020204" pitchFamily="34" charset="0"/>
              <a:buChar char="•"/>
              <a:defRPr sz="1050"/>
            </a:lvl2pPr>
            <a:lvl3pPr marL="228594" indent="-114297">
              <a:defRPr sz="1050"/>
            </a:lvl3pPr>
            <a:lvl4pPr marL="400040" indent="-171446">
              <a:defRPr sz="1050"/>
            </a:lvl4pPr>
            <a:lvl5pPr marL="571486" indent="-171446"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6192012" y="4980567"/>
            <a:ext cx="5085589" cy="958851"/>
          </a:xfrm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114297" indent="-114297">
              <a:buFont typeface="Arial" panose="020B0604020202020204" pitchFamily="34" charset="0"/>
              <a:buChar char="•"/>
              <a:defRPr sz="1050"/>
            </a:lvl2pPr>
            <a:lvl3pPr marL="228594" indent="-114297">
              <a:defRPr sz="1050"/>
            </a:lvl3pPr>
            <a:lvl4pPr marL="400040" indent="-171446">
              <a:defRPr sz="1050"/>
            </a:lvl4pPr>
            <a:lvl5pPr marL="571486" indent="-171446"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294121139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Picture Placeholder 27">
            <a:extLst>
              <a:ext uri="{FF2B5EF4-FFF2-40B4-BE49-F238E27FC236}">
                <a16:creationId xmlns:a16="http://schemas.microsoft.com/office/drawing/2014/main" id="{CDA0E771-0D7B-4C49-8A13-4EB0F925F2C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67873" y="3430633"/>
            <a:ext cx="2996639" cy="2568912"/>
          </a:xfrm>
          <a:custGeom>
            <a:avLst/>
            <a:gdLst>
              <a:gd name="connsiteX0" fmla="*/ 1624394 w 2996638"/>
              <a:gd name="connsiteY0" fmla="*/ 1920606 h 2568912"/>
              <a:gd name="connsiteX1" fmla="*/ 1948547 w 2996638"/>
              <a:gd name="connsiteY1" fmla="*/ 2244759 h 2568912"/>
              <a:gd name="connsiteX2" fmla="*/ 1624394 w 2996638"/>
              <a:gd name="connsiteY2" fmla="*/ 2568912 h 2568912"/>
              <a:gd name="connsiteX3" fmla="*/ 1300241 w 2996638"/>
              <a:gd name="connsiteY3" fmla="*/ 2244759 h 2568912"/>
              <a:gd name="connsiteX4" fmla="*/ 1624394 w 2996638"/>
              <a:gd name="connsiteY4" fmla="*/ 1920606 h 2568912"/>
              <a:gd name="connsiteX5" fmla="*/ 1451299 w 2996638"/>
              <a:gd name="connsiteY5" fmla="*/ 835 h 2568912"/>
              <a:gd name="connsiteX6" fmla="*/ 1893462 w 2996638"/>
              <a:gd name="connsiteY6" fmla="*/ 196148 h 2568912"/>
              <a:gd name="connsiteX7" fmla="*/ 1939606 w 2996638"/>
              <a:gd name="connsiteY7" fmla="*/ 254927 h 2568912"/>
              <a:gd name="connsiteX8" fmla="*/ 2006653 w 2996638"/>
              <a:gd name="connsiteY8" fmla="*/ 199608 h 2568912"/>
              <a:gd name="connsiteX9" fmla="*/ 2273956 w 2996638"/>
              <a:gd name="connsiteY9" fmla="*/ 117958 h 2568912"/>
              <a:gd name="connsiteX10" fmla="*/ 2752044 w 2996638"/>
              <a:gd name="connsiteY10" fmla="*/ 596046 h 2568912"/>
              <a:gd name="connsiteX11" fmla="*/ 2742331 w 2996638"/>
              <a:gd name="connsiteY11" fmla="*/ 692398 h 2568912"/>
              <a:gd name="connsiteX12" fmla="*/ 2721727 w 2996638"/>
              <a:gd name="connsiteY12" fmla="*/ 758774 h 2568912"/>
              <a:gd name="connsiteX13" fmla="*/ 2728855 w 2996638"/>
              <a:gd name="connsiteY13" fmla="*/ 762181 h 2568912"/>
              <a:gd name="connsiteX14" fmla="*/ 2981786 w 2996638"/>
              <a:gd name="connsiteY14" fmla="*/ 1287039 h 2568912"/>
              <a:gd name="connsiteX15" fmla="*/ 2606740 w 2996638"/>
              <a:gd name="connsiteY15" fmla="*/ 1654477 h 2568912"/>
              <a:gd name="connsiteX16" fmla="*/ 2606503 w 2996638"/>
              <a:gd name="connsiteY16" fmla="*/ 1654526 h 2568912"/>
              <a:gd name="connsiteX17" fmla="*/ 2620546 w 2996638"/>
              <a:gd name="connsiteY17" fmla="*/ 1684770 h 2568912"/>
              <a:gd name="connsiteX18" fmla="*/ 2661778 w 2996638"/>
              <a:gd name="connsiteY18" fmla="*/ 1868332 h 2568912"/>
              <a:gd name="connsiteX19" fmla="*/ 2441794 w 2996638"/>
              <a:gd name="connsiteY19" fmla="*/ 2234094 h 2568912"/>
              <a:gd name="connsiteX20" fmla="*/ 1864092 w 2996638"/>
              <a:gd name="connsiteY20" fmla="*/ 1857088 h 2568912"/>
              <a:gd name="connsiteX21" fmla="*/ 1385418 w 2996638"/>
              <a:gd name="connsiteY21" fmla="*/ 1858348 h 2568912"/>
              <a:gd name="connsiteX22" fmla="*/ 1316551 w 2996638"/>
              <a:gd name="connsiteY22" fmla="*/ 1874234 h 2568912"/>
              <a:gd name="connsiteX23" fmla="*/ 1241724 w 2996638"/>
              <a:gd name="connsiteY23" fmla="*/ 1914573 h 2568912"/>
              <a:gd name="connsiteX24" fmla="*/ 919585 w 2996638"/>
              <a:gd name="connsiteY24" fmla="*/ 2020116 h 2568912"/>
              <a:gd name="connsiteX25" fmla="*/ 1838 w 2996638"/>
              <a:gd name="connsiteY25" fmla="*/ 1228974 h 2568912"/>
              <a:gd name="connsiteX26" fmla="*/ 406548 w 2996638"/>
              <a:gd name="connsiteY26" fmla="*/ 459215 h 2568912"/>
              <a:gd name="connsiteX27" fmla="*/ 1451299 w 2996638"/>
              <a:gd name="connsiteY27" fmla="*/ 835 h 2568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996638" h="2568912">
                <a:moveTo>
                  <a:pt x="1624394" y="1920606"/>
                </a:moveTo>
                <a:cubicBezTo>
                  <a:pt x="1803419" y="1920606"/>
                  <a:pt x="1948547" y="2065734"/>
                  <a:pt x="1948547" y="2244759"/>
                </a:cubicBezTo>
                <a:cubicBezTo>
                  <a:pt x="1948547" y="2423784"/>
                  <a:pt x="1803419" y="2568912"/>
                  <a:pt x="1624394" y="2568912"/>
                </a:cubicBezTo>
                <a:cubicBezTo>
                  <a:pt x="1445369" y="2568912"/>
                  <a:pt x="1300241" y="2423784"/>
                  <a:pt x="1300241" y="2244759"/>
                </a:cubicBezTo>
                <a:cubicBezTo>
                  <a:pt x="1300241" y="2065734"/>
                  <a:pt x="1445369" y="1920606"/>
                  <a:pt x="1624394" y="1920606"/>
                </a:cubicBezTo>
                <a:close/>
                <a:moveTo>
                  <a:pt x="1451299" y="835"/>
                </a:moveTo>
                <a:cubicBezTo>
                  <a:pt x="1619767" y="8290"/>
                  <a:pt x="1775339" y="66145"/>
                  <a:pt x="1893462" y="196148"/>
                </a:cubicBezTo>
                <a:lnTo>
                  <a:pt x="1939606" y="254927"/>
                </a:lnTo>
                <a:lnTo>
                  <a:pt x="2006653" y="199608"/>
                </a:lnTo>
                <a:cubicBezTo>
                  <a:pt x="2082956" y="148059"/>
                  <a:pt x="2174941" y="117958"/>
                  <a:pt x="2273956" y="117958"/>
                </a:cubicBezTo>
                <a:cubicBezTo>
                  <a:pt x="2537997" y="117958"/>
                  <a:pt x="2752044" y="332005"/>
                  <a:pt x="2752044" y="596046"/>
                </a:cubicBezTo>
                <a:cubicBezTo>
                  <a:pt x="2752044" y="629051"/>
                  <a:pt x="2748700" y="661275"/>
                  <a:pt x="2742331" y="692398"/>
                </a:cubicBezTo>
                <a:lnTo>
                  <a:pt x="2721727" y="758774"/>
                </a:lnTo>
                <a:lnTo>
                  <a:pt x="2728855" y="762181"/>
                </a:lnTo>
                <a:cubicBezTo>
                  <a:pt x="2909138" y="868013"/>
                  <a:pt x="3042463" y="1086327"/>
                  <a:pt x="2981786" y="1287039"/>
                </a:cubicBezTo>
                <a:cubicBezTo>
                  <a:pt x="2927799" y="1465633"/>
                  <a:pt x="2779178" y="1600976"/>
                  <a:pt x="2606740" y="1654477"/>
                </a:cubicBezTo>
                <a:lnTo>
                  <a:pt x="2606503" y="1654526"/>
                </a:lnTo>
                <a:lnTo>
                  <a:pt x="2620546" y="1684770"/>
                </a:lnTo>
                <a:cubicBezTo>
                  <a:pt x="2643021" y="1743500"/>
                  <a:pt x="2659098" y="1804249"/>
                  <a:pt x="2661778" y="1868332"/>
                </a:cubicBezTo>
                <a:cubicBezTo>
                  <a:pt x="2668208" y="2022453"/>
                  <a:pt x="2604784" y="2189647"/>
                  <a:pt x="2441794" y="2234094"/>
                </a:cubicBezTo>
                <a:cubicBezTo>
                  <a:pt x="2168973" y="2308465"/>
                  <a:pt x="2055521" y="1973639"/>
                  <a:pt x="1864092" y="1857088"/>
                </a:cubicBezTo>
                <a:cubicBezTo>
                  <a:pt x="1713865" y="1765625"/>
                  <a:pt x="1546365" y="1818055"/>
                  <a:pt x="1385418" y="1858348"/>
                </a:cubicBezTo>
                <a:lnTo>
                  <a:pt x="1316551" y="1874234"/>
                </a:lnTo>
                <a:lnTo>
                  <a:pt x="1241724" y="1914573"/>
                </a:lnTo>
                <a:cubicBezTo>
                  <a:pt x="1138978" y="1963574"/>
                  <a:pt x="1031615" y="2001107"/>
                  <a:pt x="919585" y="2020116"/>
                </a:cubicBezTo>
                <a:cubicBezTo>
                  <a:pt x="424269" y="2104148"/>
                  <a:pt x="-32685" y="1745852"/>
                  <a:pt x="1838" y="1228974"/>
                </a:cubicBezTo>
                <a:cubicBezTo>
                  <a:pt x="21779" y="930262"/>
                  <a:pt x="205405" y="669269"/>
                  <a:pt x="406548" y="459215"/>
                </a:cubicBezTo>
                <a:cubicBezTo>
                  <a:pt x="638862" y="216605"/>
                  <a:pt x="1076924" y="-15728"/>
                  <a:pt x="1451299" y="835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ID"/>
          </a:p>
        </p:txBody>
      </p:sp>
      <p:sp>
        <p:nvSpPr>
          <p:cNvPr id="31" name="Picture Placeholder 30">
            <a:extLst>
              <a:ext uri="{FF2B5EF4-FFF2-40B4-BE49-F238E27FC236}">
                <a16:creationId xmlns:a16="http://schemas.microsoft.com/office/drawing/2014/main" id="{A3882F00-E6D4-497F-B1A7-AB520DBDA705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782166" y="3216439"/>
            <a:ext cx="2996639" cy="2568912"/>
          </a:xfrm>
          <a:custGeom>
            <a:avLst/>
            <a:gdLst>
              <a:gd name="connsiteX0" fmla="*/ 1624394 w 2996638"/>
              <a:gd name="connsiteY0" fmla="*/ 1920606 h 2568912"/>
              <a:gd name="connsiteX1" fmla="*/ 1948547 w 2996638"/>
              <a:gd name="connsiteY1" fmla="*/ 2244759 h 2568912"/>
              <a:gd name="connsiteX2" fmla="*/ 1624394 w 2996638"/>
              <a:gd name="connsiteY2" fmla="*/ 2568912 h 2568912"/>
              <a:gd name="connsiteX3" fmla="*/ 1300241 w 2996638"/>
              <a:gd name="connsiteY3" fmla="*/ 2244759 h 2568912"/>
              <a:gd name="connsiteX4" fmla="*/ 1624394 w 2996638"/>
              <a:gd name="connsiteY4" fmla="*/ 1920606 h 2568912"/>
              <a:gd name="connsiteX5" fmla="*/ 1451299 w 2996638"/>
              <a:gd name="connsiteY5" fmla="*/ 835 h 2568912"/>
              <a:gd name="connsiteX6" fmla="*/ 1893462 w 2996638"/>
              <a:gd name="connsiteY6" fmla="*/ 196148 h 2568912"/>
              <a:gd name="connsiteX7" fmla="*/ 1939606 w 2996638"/>
              <a:gd name="connsiteY7" fmla="*/ 254927 h 2568912"/>
              <a:gd name="connsiteX8" fmla="*/ 2006653 w 2996638"/>
              <a:gd name="connsiteY8" fmla="*/ 199608 h 2568912"/>
              <a:gd name="connsiteX9" fmla="*/ 2273956 w 2996638"/>
              <a:gd name="connsiteY9" fmla="*/ 117958 h 2568912"/>
              <a:gd name="connsiteX10" fmla="*/ 2752044 w 2996638"/>
              <a:gd name="connsiteY10" fmla="*/ 596046 h 2568912"/>
              <a:gd name="connsiteX11" fmla="*/ 2742331 w 2996638"/>
              <a:gd name="connsiteY11" fmla="*/ 692398 h 2568912"/>
              <a:gd name="connsiteX12" fmla="*/ 2721727 w 2996638"/>
              <a:gd name="connsiteY12" fmla="*/ 758774 h 2568912"/>
              <a:gd name="connsiteX13" fmla="*/ 2728855 w 2996638"/>
              <a:gd name="connsiteY13" fmla="*/ 762181 h 2568912"/>
              <a:gd name="connsiteX14" fmla="*/ 2981786 w 2996638"/>
              <a:gd name="connsiteY14" fmla="*/ 1287039 h 2568912"/>
              <a:gd name="connsiteX15" fmla="*/ 2606740 w 2996638"/>
              <a:gd name="connsiteY15" fmla="*/ 1654477 h 2568912"/>
              <a:gd name="connsiteX16" fmla="*/ 2606503 w 2996638"/>
              <a:gd name="connsiteY16" fmla="*/ 1654526 h 2568912"/>
              <a:gd name="connsiteX17" fmla="*/ 2620546 w 2996638"/>
              <a:gd name="connsiteY17" fmla="*/ 1684770 h 2568912"/>
              <a:gd name="connsiteX18" fmla="*/ 2661778 w 2996638"/>
              <a:gd name="connsiteY18" fmla="*/ 1868332 h 2568912"/>
              <a:gd name="connsiteX19" fmla="*/ 2441794 w 2996638"/>
              <a:gd name="connsiteY19" fmla="*/ 2234094 h 2568912"/>
              <a:gd name="connsiteX20" fmla="*/ 1864092 w 2996638"/>
              <a:gd name="connsiteY20" fmla="*/ 1857088 h 2568912"/>
              <a:gd name="connsiteX21" fmla="*/ 1385418 w 2996638"/>
              <a:gd name="connsiteY21" fmla="*/ 1858348 h 2568912"/>
              <a:gd name="connsiteX22" fmla="*/ 1316551 w 2996638"/>
              <a:gd name="connsiteY22" fmla="*/ 1874234 h 2568912"/>
              <a:gd name="connsiteX23" fmla="*/ 1241724 w 2996638"/>
              <a:gd name="connsiteY23" fmla="*/ 1914573 h 2568912"/>
              <a:gd name="connsiteX24" fmla="*/ 919585 w 2996638"/>
              <a:gd name="connsiteY24" fmla="*/ 2020116 h 2568912"/>
              <a:gd name="connsiteX25" fmla="*/ 1838 w 2996638"/>
              <a:gd name="connsiteY25" fmla="*/ 1228974 h 2568912"/>
              <a:gd name="connsiteX26" fmla="*/ 406548 w 2996638"/>
              <a:gd name="connsiteY26" fmla="*/ 459215 h 2568912"/>
              <a:gd name="connsiteX27" fmla="*/ 1451299 w 2996638"/>
              <a:gd name="connsiteY27" fmla="*/ 835 h 2568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996638" h="2568912">
                <a:moveTo>
                  <a:pt x="1624394" y="1920606"/>
                </a:moveTo>
                <a:cubicBezTo>
                  <a:pt x="1803419" y="1920606"/>
                  <a:pt x="1948547" y="2065734"/>
                  <a:pt x="1948547" y="2244759"/>
                </a:cubicBezTo>
                <a:cubicBezTo>
                  <a:pt x="1948547" y="2423784"/>
                  <a:pt x="1803419" y="2568912"/>
                  <a:pt x="1624394" y="2568912"/>
                </a:cubicBezTo>
                <a:cubicBezTo>
                  <a:pt x="1445369" y="2568912"/>
                  <a:pt x="1300241" y="2423784"/>
                  <a:pt x="1300241" y="2244759"/>
                </a:cubicBezTo>
                <a:cubicBezTo>
                  <a:pt x="1300241" y="2065734"/>
                  <a:pt x="1445369" y="1920606"/>
                  <a:pt x="1624394" y="1920606"/>
                </a:cubicBezTo>
                <a:close/>
                <a:moveTo>
                  <a:pt x="1451299" y="835"/>
                </a:moveTo>
                <a:cubicBezTo>
                  <a:pt x="1619767" y="8290"/>
                  <a:pt x="1775339" y="66145"/>
                  <a:pt x="1893462" y="196148"/>
                </a:cubicBezTo>
                <a:lnTo>
                  <a:pt x="1939606" y="254927"/>
                </a:lnTo>
                <a:lnTo>
                  <a:pt x="2006653" y="199608"/>
                </a:lnTo>
                <a:cubicBezTo>
                  <a:pt x="2082956" y="148059"/>
                  <a:pt x="2174941" y="117958"/>
                  <a:pt x="2273956" y="117958"/>
                </a:cubicBezTo>
                <a:cubicBezTo>
                  <a:pt x="2537997" y="117958"/>
                  <a:pt x="2752044" y="332005"/>
                  <a:pt x="2752044" y="596046"/>
                </a:cubicBezTo>
                <a:cubicBezTo>
                  <a:pt x="2752044" y="629051"/>
                  <a:pt x="2748700" y="661275"/>
                  <a:pt x="2742331" y="692398"/>
                </a:cubicBezTo>
                <a:lnTo>
                  <a:pt x="2721727" y="758774"/>
                </a:lnTo>
                <a:lnTo>
                  <a:pt x="2728855" y="762181"/>
                </a:lnTo>
                <a:cubicBezTo>
                  <a:pt x="2909138" y="868013"/>
                  <a:pt x="3042463" y="1086327"/>
                  <a:pt x="2981786" y="1287039"/>
                </a:cubicBezTo>
                <a:cubicBezTo>
                  <a:pt x="2927799" y="1465633"/>
                  <a:pt x="2779178" y="1600976"/>
                  <a:pt x="2606740" y="1654477"/>
                </a:cubicBezTo>
                <a:lnTo>
                  <a:pt x="2606503" y="1654526"/>
                </a:lnTo>
                <a:lnTo>
                  <a:pt x="2620546" y="1684770"/>
                </a:lnTo>
                <a:cubicBezTo>
                  <a:pt x="2643021" y="1743500"/>
                  <a:pt x="2659098" y="1804249"/>
                  <a:pt x="2661778" y="1868332"/>
                </a:cubicBezTo>
                <a:cubicBezTo>
                  <a:pt x="2668208" y="2022453"/>
                  <a:pt x="2604784" y="2189647"/>
                  <a:pt x="2441794" y="2234094"/>
                </a:cubicBezTo>
                <a:cubicBezTo>
                  <a:pt x="2168973" y="2308465"/>
                  <a:pt x="2055521" y="1973639"/>
                  <a:pt x="1864092" y="1857088"/>
                </a:cubicBezTo>
                <a:cubicBezTo>
                  <a:pt x="1713865" y="1765625"/>
                  <a:pt x="1546365" y="1818055"/>
                  <a:pt x="1385418" y="1858348"/>
                </a:cubicBezTo>
                <a:lnTo>
                  <a:pt x="1316551" y="1874234"/>
                </a:lnTo>
                <a:lnTo>
                  <a:pt x="1241724" y="1914573"/>
                </a:lnTo>
                <a:cubicBezTo>
                  <a:pt x="1138978" y="1963574"/>
                  <a:pt x="1031615" y="2001107"/>
                  <a:pt x="919585" y="2020116"/>
                </a:cubicBezTo>
                <a:cubicBezTo>
                  <a:pt x="424269" y="2104148"/>
                  <a:pt x="-32685" y="1745852"/>
                  <a:pt x="1838" y="1228974"/>
                </a:cubicBezTo>
                <a:cubicBezTo>
                  <a:pt x="21779" y="930262"/>
                  <a:pt x="205405" y="669269"/>
                  <a:pt x="406548" y="459215"/>
                </a:cubicBezTo>
                <a:cubicBezTo>
                  <a:pt x="638862" y="216605"/>
                  <a:pt x="1076924" y="-15728"/>
                  <a:pt x="1451299" y="835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ID"/>
          </a:p>
        </p:txBody>
      </p:sp>
      <p:sp>
        <p:nvSpPr>
          <p:cNvPr id="34" name="Picture Placeholder 33">
            <a:extLst>
              <a:ext uri="{FF2B5EF4-FFF2-40B4-BE49-F238E27FC236}">
                <a16:creationId xmlns:a16="http://schemas.microsoft.com/office/drawing/2014/main" id="{285D980E-FD69-49E6-B46A-677EA08B977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696458" y="3430633"/>
            <a:ext cx="2996639" cy="2568912"/>
          </a:xfrm>
          <a:custGeom>
            <a:avLst/>
            <a:gdLst>
              <a:gd name="connsiteX0" fmla="*/ 1624394 w 2996638"/>
              <a:gd name="connsiteY0" fmla="*/ 1920606 h 2568912"/>
              <a:gd name="connsiteX1" fmla="*/ 1948547 w 2996638"/>
              <a:gd name="connsiteY1" fmla="*/ 2244759 h 2568912"/>
              <a:gd name="connsiteX2" fmla="*/ 1624394 w 2996638"/>
              <a:gd name="connsiteY2" fmla="*/ 2568912 h 2568912"/>
              <a:gd name="connsiteX3" fmla="*/ 1300241 w 2996638"/>
              <a:gd name="connsiteY3" fmla="*/ 2244759 h 2568912"/>
              <a:gd name="connsiteX4" fmla="*/ 1624394 w 2996638"/>
              <a:gd name="connsiteY4" fmla="*/ 1920606 h 2568912"/>
              <a:gd name="connsiteX5" fmla="*/ 1451299 w 2996638"/>
              <a:gd name="connsiteY5" fmla="*/ 835 h 2568912"/>
              <a:gd name="connsiteX6" fmla="*/ 1893462 w 2996638"/>
              <a:gd name="connsiteY6" fmla="*/ 196148 h 2568912"/>
              <a:gd name="connsiteX7" fmla="*/ 1939606 w 2996638"/>
              <a:gd name="connsiteY7" fmla="*/ 254927 h 2568912"/>
              <a:gd name="connsiteX8" fmla="*/ 2006653 w 2996638"/>
              <a:gd name="connsiteY8" fmla="*/ 199608 h 2568912"/>
              <a:gd name="connsiteX9" fmla="*/ 2273956 w 2996638"/>
              <a:gd name="connsiteY9" fmla="*/ 117958 h 2568912"/>
              <a:gd name="connsiteX10" fmla="*/ 2752044 w 2996638"/>
              <a:gd name="connsiteY10" fmla="*/ 596046 h 2568912"/>
              <a:gd name="connsiteX11" fmla="*/ 2742331 w 2996638"/>
              <a:gd name="connsiteY11" fmla="*/ 692398 h 2568912"/>
              <a:gd name="connsiteX12" fmla="*/ 2721727 w 2996638"/>
              <a:gd name="connsiteY12" fmla="*/ 758774 h 2568912"/>
              <a:gd name="connsiteX13" fmla="*/ 2728855 w 2996638"/>
              <a:gd name="connsiteY13" fmla="*/ 762181 h 2568912"/>
              <a:gd name="connsiteX14" fmla="*/ 2981786 w 2996638"/>
              <a:gd name="connsiteY14" fmla="*/ 1287039 h 2568912"/>
              <a:gd name="connsiteX15" fmla="*/ 2606740 w 2996638"/>
              <a:gd name="connsiteY15" fmla="*/ 1654477 h 2568912"/>
              <a:gd name="connsiteX16" fmla="*/ 2606503 w 2996638"/>
              <a:gd name="connsiteY16" fmla="*/ 1654526 h 2568912"/>
              <a:gd name="connsiteX17" fmla="*/ 2620546 w 2996638"/>
              <a:gd name="connsiteY17" fmla="*/ 1684770 h 2568912"/>
              <a:gd name="connsiteX18" fmla="*/ 2661778 w 2996638"/>
              <a:gd name="connsiteY18" fmla="*/ 1868332 h 2568912"/>
              <a:gd name="connsiteX19" fmla="*/ 2441794 w 2996638"/>
              <a:gd name="connsiteY19" fmla="*/ 2234094 h 2568912"/>
              <a:gd name="connsiteX20" fmla="*/ 1864092 w 2996638"/>
              <a:gd name="connsiteY20" fmla="*/ 1857088 h 2568912"/>
              <a:gd name="connsiteX21" fmla="*/ 1385418 w 2996638"/>
              <a:gd name="connsiteY21" fmla="*/ 1858348 h 2568912"/>
              <a:gd name="connsiteX22" fmla="*/ 1316551 w 2996638"/>
              <a:gd name="connsiteY22" fmla="*/ 1874234 h 2568912"/>
              <a:gd name="connsiteX23" fmla="*/ 1241724 w 2996638"/>
              <a:gd name="connsiteY23" fmla="*/ 1914573 h 2568912"/>
              <a:gd name="connsiteX24" fmla="*/ 919585 w 2996638"/>
              <a:gd name="connsiteY24" fmla="*/ 2020116 h 2568912"/>
              <a:gd name="connsiteX25" fmla="*/ 1838 w 2996638"/>
              <a:gd name="connsiteY25" fmla="*/ 1228974 h 2568912"/>
              <a:gd name="connsiteX26" fmla="*/ 406548 w 2996638"/>
              <a:gd name="connsiteY26" fmla="*/ 459215 h 2568912"/>
              <a:gd name="connsiteX27" fmla="*/ 1451299 w 2996638"/>
              <a:gd name="connsiteY27" fmla="*/ 835 h 2568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996638" h="2568912">
                <a:moveTo>
                  <a:pt x="1624394" y="1920606"/>
                </a:moveTo>
                <a:cubicBezTo>
                  <a:pt x="1803419" y="1920606"/>
                  <a:pt x="1948547" y="2065734"/>
                  <a:pt x="1948547" y="2244759"/>
                </a:cubicBezTo>
                <a:cubicBezTo>
                  <a:pt x="1948547" y="2423784"/>
                  <a:pt x="1803419" y="2568912"/>
                  <a:pt x="1624394" y="2568912"/>
                </a:cubicBezTo>
                <a:cubicBezTo>
                  <a:pt x="1445369" y="2568912"/>
                  <a:pt x="1300241" y="2423784"/>
                  <a:pt x="1300241" y="2244759"/>
                </a:cubicBezTo>
                <a:cubicBezTo>
                  <a:pt x="1300241" y="2065734"/>
                  <a:pt x="1445369" y="1920606"/>
                  <a:pt x="1624394" y="1920606"/>
                </a:cubicBezTo>
                <a:close/>
                <a:moveTo>
                  <a:pt x="1451299" y="835"/>
                </a:moveTo>
                <a:cubicBezTo>
                  <a:pt x="1619767" y="8290"/>
                  <a:pt x="1775339" y="66145"/>
                  <a:pt x="1893462" y="196148"/>
                </a:cubicBezTo>
                <a:lnTo>
                  <a:pt x="1939606" y="254927"/>
                </a:lnTo>
                <a:lnTo>
                  <a:pt x="2006653" y="199608"/>
                </a:lnTo>
                <a:cubicBezTo>
                  <a:pt x="2082956" y="148059"/>
                  <a:pt x="2174941" y="117958"/>
                  <a:pt x="2273956" y="117958"/>
                </a:cubicBezTo>
                <a:cubicBezTo>
                  <a:pt x="2537997" y="117958"/>
                  <a:pt x="2752044" y="332005"/>
                  <a:pt x="2752044" y="596046"/>
                </a:cubicBezTo>
                <a:cubicBezTo>
                  <a:pt x="2752044" y="629051"/>
                  <a:pt x="2748700" y="661275"/>
                  <a:pt x="2742331" y="692398"/>
                </a:cubicBezTo>
                <a:lnTo>
                  <a:pt x="2721727" y="758774"/>
                </a:lnTo>
                <a:lnTo>
                  <a:pt x="2728855" y="762181"/>
                </a:lnTo>
                <a:cubicBezTo>
                  <a:pt x="2909138" y="868013"/>
                  <a:pt x="3042463" y="1086327"/>
                  <a:pt x="2981786" y="1287039"/>
                </a:cubicBezTo>
                <a:cubicBezTo>
                  <a:pt x="2927799" y="1465633"/>
                  <a:pt x="2779178" y="1600976"/>
                  <a:pt x="2606740" y="1654477"/>
                </a:cubicBezTo>
                <a:lnTo>
                  <a:pt x="2606503" y="1654526"/>
                </a:lnTo>
                <a:lnTo>
                  <a:pt x="2620546" y="1684770"/>
                </a:lnTo>
                <a:cubicBezTo>
                  <a:pt x="2643021" y="1743500"/>
                  <a:pt x="2659098" y="1804249"/>
                  <a:pt x="2661778" y="1868332"/>
                </a:cubicBezTo>
                <a:cubicBezTo>
                  <a:pt x="2668208" y="2022453"/>
                  <a:pt x="2604784" y="2189647"/>
                  <a:pt x="2441794" y="2234094"/>
                </a:cubicBezTo>
                <a:cubicBezTo>
                  <a:pt x="2168973" y="2308465"/>
                  <a:pt x="2055521" y="1973639"/>
                  <a:pt x="1864092" y="1857088"/>
                </a:cubicBezTo>
                <a:cubicBezTo>
                  <a:pt x="1713865" y="1765625"/>
                  <a:pt x="1546365" y="1818055"/>
                  <a:pt x="1385418" y="1858348"/>
                </a:cubicBezTo>
                <a:lnTo>
                  <a:pt x="1316551" y="1874234"/>
                </a:lnTo>
                <a:lnTo>
                  <a:pt x="1241724" y="1914573"/>
                </a:lnTo>
                <a:cubicBezTo>
                  <a:pt x="1138978" y="1963574"/>
                  <a:pt x="1031615" y="2001107"/>
                  <a:pt x="919585" y="2020116"/>
                </a:cubicBezTo>
                <a:cubicBezTo>
                  <a:pt x="424269" y="2104148"/>
                  <a:pt x="-32685" y="1745852"/>
                  <a:pt x="1838" y="1228974"/>
                </a:cubicBezTo>
                <a:cubicBezTo>
                  <a:pt x="21779" y="930262"/>
                  <a:pt x="205405" y="669269"/>
                  <a:pt x="406548" y="459215"/>
                </a:cubicBezTo>
                <a:cubicBezTo>
                  <a:pt x="638862" y="216605"/>
                  <a:pt x="1076924" y="-15728"/>
                  <a:pt x="1451299" y="835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480060141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Tal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3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2"/>
            <a:ext cx="2438400" cy="1476165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556000" y="1397002"/>
            <a:ext cx="2438400" cy="1476165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3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197600" y="1397002"/>
            <a:ext cx="2438400" cy="1476165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5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8839200" y="1397002"/>
            <a:ext cx="2438400" cy="1476165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3055281"/>
            <a:ext cx="2441448" cy="2988332"/>
          </a:xfrm>
        </p:spPr>
        <p:txBody>
          <a:bodyPr/>
          <a:lstStyle>
            <a:lvl1pPr marL="0" indent="0">
              <a:buNone/>
              <a:defRPr sz="1575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13"/>
          <p:cNvSpPr>
            <a:spLocks noGrp="1"/>
          </p:cNvSpPr>
          <p:nvPr>
            <p:ph sz="quarter" idx="19"/>
          </p:nvPr>
        </p:nvSpPr>
        <p:spPr>
          <a:xfrm>
            <a:off x="3554984" y="3055281"/>
            <a:ext cx="2441448" cy="2988332"/>
          </a:xfrm>
        </p:spPr>
        <p:txBody>
          <a:bodyPr/>
          <a:lstStyle>
            <a:lvl1pPr marL="0" indent="0">
              <a:buNone/>
              <a:defRPr sz="1575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ontent Placeholder 13"/>
          <p:cNvSpPr>
            <a:spLocks noGrp="1"/>
          </p:cNvSpPr>
          <p:nvPr>
            <p:ph sz="quarter" idx="20"/>
          </p:nvPr>
        </p:nvSpPr>
        <p:spPr>
          <a:xfrm>
            <a:off x="6195568" y="3055281"/>
            <a:ext cx="2441448" cy="2988332"/>
          </a:xfrm>
        </p:spPr>
        <p:txBody>
          <a:bodyPr/>
          <a:lstStyle>
            <a:lvl1pPr marL="0" indent="0">
              <a:buNone/>
              <a:defRPr sz="1575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13"/>
          <p:cNvSpPr>
            <a:spLocks noGrp="1"/>
          </p:cNvSpPr>
          <p:nvPr>
            <p:ph sz="quarter" idx="21"/>
          </p:nvPr>
        </p:nvSpPr>
        <p:spPr>
          <a:xfrm>
            <a:off x="8836152" y="3055281"/>
            <a:ext cx="2441448" cy="2988332"/>
          </a:xfrm>
        </p:spPr>
        <p:txBody>
          <a:bodyPr/>
          <a:lstStyle>
            <a:lvl1pPr marL="0" indent="0">
              <a:buNone/>
              <a:defRPr sz="1575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4178623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Tall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3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2"/>
            <a:ext cx="2438400" cy="1476165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556000" y="1397002"/>
            <a:ext cx="2438400" cy="1476165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3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197600" y="1397002"/>
            <a:ext cx="2438400" cy="1476165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5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8839200" y="1397002"/>
            <a:ext cx="2438400" cy="1476165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3055281"/>
            <a:ext cx="2441448" cy="2988332"/>
          </a:xfrm>
        </p:spPr>
        <p:txBody>
          <a:bodyPr/>
          <a:lstStyle>
            <a:lvl1pPr marL="0" indent="0">
              <a:buNone/>
              <a:defRPr sz="1575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13"/>
          <p:cNvSpPr>
            <a:spLocks noGrp="1"/>
          </p:cNvSpPr>
          <p:nvPr>
            <p:ph sz="quarter" idx="19"/>
          </p:nvPr>
        </p:nvSpPr>
        <p:spPr>
          <a:xfrm>
            <a:off x="3554984" y="3055281"/>
            <a:ext cx="2441448" cy="2988332"/>
          </a:xfrm>
        </p:spPr>
        <p:txBody>
          <a:bodyPr/>
          <a:lstStyle>
            <a:lvl1pPr marL="0" indent="0">
              <a:buNone/>
              <a:defRPr sz="1575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ontent Placeholder 13"/>
          <p:cNvSpPr>
            <a:spLocks noGrp="1"/>
          </p:cNvSpPr>
          <p:nvPr>
            <p:ph sz="quarter" idx="20"/>
          </p:nvPr>
        </p:nvSpPr>
        <p:spPr>
          <a:xfrm>
            <a:off x="6195568" y="3055281"/>
            <a:ext cx="2441448" cy="2988332"/>
          </a:xfrm>
        </p:spPr>
        <p:txBody>
          <a:bodyPr/>
          <a:lstStyle>
            <a:lvl1pPr marL="0" indent="0">
              <a:buNone/>
              <a:defRPr sz="1575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13"/>
          <p:cNvSpPr>
            <a:spLocks noGrp="1"/>
          </p:cNvSpPr>
          <p:nvPr>
            <p:ph sz="quarter" idx="21"/>
          </p:nvPr>
        </p:nvSpPr>
        <p:spPr>
          <a:xfrm>
            <a:off x="8836152" y="3055281"/>
            <a:ext cx="2441448" cy="2988332"/>
          </a:xfrm>
        </p:spPr>
        <p:txBody>
          <a:bodyPr/>
          <a:lstStyle>
            <a:lvl1pPr marL="0" indent="0">
              <a:buNone/>
              <a:defRPr sz="1575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22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2590021069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Tal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3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3328416" cy="147218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431792" y="1397000"/>
            <a:ext cx="3328416" cy="147218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4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7949184" y="1397000"/>
            <a:ext cx="3328416" cy="147218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11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3055281"/>
            <a:ext cx="3328416" cy="2988332"/>
          </a:xfrm>
        </p:spPr>
        <p:txBody>
          <a:bodyPr/>
          <a:lstStyle>
            <a:lvl1pPr marL="0" indent="0">
              <a:buNone/>
              <a:defRPr sz="1575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13"/>
          <p:cNvSpPr>
            <a:spLocks noGrp="1"/>
          </p:cNvSpPr>
          <p:nvPr>
            <p:ph sz="quarter" idx="19"/>
          </p:nvPr>
        </p:nvSpPr>
        <p:spPr>
          <a:xfrm>
            <a:off x="4431792" y="3055281"/>
            <a:ext cx="3328416" cy="2988332"/>
          </a:xfrm>
        </p:spPr>
        <p:txBody>
          <a:bodyPr/>
          <a:lstStyle>
            <a:lvl1pPr marL="0" indent="0">
              <a:buNone/>
              <a:defRPr sz="1575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13"/>
          <p:cNvSpPr>
            <a:spLocks noGrp="1"/>
          </p:cNvSpPr>
          <p:nvPr>
            <p:ph sz="quarter" idx="20"/>
          </p:nvPr>
        </p:nvSpPr>
        <p:spPr>
          <a:xfrm>
            <a:off x="7949184" y="3055281"/>
            <a:ext cx="3328416" cy="2988332"/>
          </a:xfrm>
        </p:spPr>
        <p:txBody>
          <a:bodyPr/>
          <a:lstStyle>
            <a:lvl1pPr marL="0" indent="0">
              <a:buNone/>
              <a:defRPr sz="1575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84769082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Tall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3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3328416" cy="147218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431792" y="1397000"/>
            <a:ext cx="3328416" cy="147218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4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7949184" y="1397000"/>
            <a:ext cx="3328416" cy="147218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11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3055281"/>
            <a:ext cx="3328416" cy="2988332"/>
          </a:xfrm>
        </p:spPr>
        <p:txBody>
          <a:bodyPr/>
          <a:lstStyle>
            <a:lvl1pPr marL="0" indent="0">
              <a:buNone/>
              <a:defRPr sz="1575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13"/>
          <p:cNvSpPr>
            <a:spLocks noGrp="1"/>
          </p:cNvSpPr>
          <p:nvPr>
            <p:ph sz="quarter" idx="19"/>
          </p:nvPr>
        </p:nvSpPr>
        <p:spPr>
          <a:xfrm>
            <a:off x="4431792" y="3055281"/>
            <a:ext cx="3328416" cy="2988332"/>
          </a:xfrm>
        </p:spPr>
        <p:txBody>
          <a:bodyPr/>
          <a:lstStyle>
            <a:lvl1pPr marL="0" indent="0">
              <a:buNone/>
              <a:defRPr sz="1575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13"/>
          <p:cNvSpPr>
            <a:spLocks noGrp="1"/>
          </p:cNvSpPr>
          <p:nvPr>
            <p:ph sz="quarter" idx="20"/>
          </p:nvPr>
        </p:nvSpPr>
        <p:spPr>
          <a:xfrm>
            <a:off x="7949184" y="3055281"/>
            <a:ext cx="3328416" cy="2988332"/>
          </a:xfrm>
        </p:spPr>
        <p:txBody>
          <a:bodyPr/>
          <a:lstStyle>
            <a:lvl1pPr marL="0" indent="0">
              <a:buNone/>
              <a:defRPr sz="1575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2553293901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Tal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3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5085589" cy="147218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192012" y="1397000"/>
            <a:ext cx="5085589" cy="147218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7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3055281"/>
            <a:ext cx="5084064" cy="2988332"/>
          </a:xfrm>
        </p:spPr>
        <p:txBody>
          <a:bodyPr/>
          <a:lstStyle>
            <a:lvl1pPr marL="0" indent="0">
              <a:buNone/>
              <a:defRPr sz="1575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13"/>
          <p:cNvSpPr>
            <a:spLocks noGrp="1"/>
          </p:cNvSpPr>
          <p:nvPr>
            <p:ph sz="quarter" idx="19"/>
          </p:nvPr>
        </p:nvSpPr>
        <p:spPr>
          <a:xfrm>
            <a:off x="6193536" y="3055281"/>
            <a:ext cx="5084064" cy="2988332"/>
          </a:xfrm>
        </p:spPr>
        <p:txBody>
          <a:bodyPr/>
          <a:lstStyle>
            <a:lvl1pPr marL="0" indent="0">
              <a:buNone/>
              <a:defRPr sz="1575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29855076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Tall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3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5085589" cy="147218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192012" y="1397000"/>
            <a:ext cx="5085589" cy="147218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7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3055281"/>
            <a:ext cx="5084064" cy="2988332"/>
          </a:xfrm>
        </p:spPr>
        <p:txBody>
          <a:bodyPr/>
          <a:lstStyle>
            <a:lvl1pPr marL="0" indent="0">
              <a:buNone/>
              <a:defRPr sz="1575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13"/>
          <p:cNvSpPr>
            <a:spLocks noGrp="1"/>
          </p:cNvSpPr>
          <p:nvPr>
            <p:ph sz="quarter" idx="19"/>
          </p:nvPr>
        </p:nvSpPr>
        <p:spPr>
          <a:xfrm>
            <a:off x="6193536" y="3055281"/>
            <a:ext cx="5084064" cy="2988332"/>
          </a:xfrm>
        </p:spPr>
        <p:txBody>
          <a:bodyPr/>
          <a:lstStyle>
            <a:lvl1pPr marL="0" indent="0">
              <a:buNone/>
              <a:defRPr sz="1575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470653358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ght Gri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3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3384" y="1397002"/>
            <a:ext cx="24384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 dirty="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554984" y="1397002"/>
            <a:ext cx="24384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196584" y="1397002"/>
            <a:ext cx="24384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8838184" y="1397002"/>
            <a:ext cx="24384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913384" y="4717009"/>
            <a:ext cx="2441448" cy="1326605"/>
          </a:xfrm>
        </p:spPr>
        <p:txBody>
          <a:bodyPr/>
          <a:lstStyle>
            <a:lvl1pPr marL="0" indent="0">
              <a:buNone/>
              <a:defRPr sz="1050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13"/>
          <p:cNvSpPr>
            <a:spLocks noGrp="1"/>
          </p:cNvSpPr>
          <p:nvPr>
            <p:ph sz="quarter" idx="19"/>
          </p:nvPr>
        </p:nvSpPr>
        <p:spPr>
          <a:xfrm>
            <a:off x="3553968" y="4717009"/>
            <a:ext cx="2441448" cy="1326605"/>
          </a:xfrm>
        </p:spPr>
        <p:txBody>
          <a:bodyPr>
            <a:normAutofit/>
          </a:bodyPr>
          <a:lstStyle>
            <a:lvl1pPr marL="0" indent="0">
              <a:buNone/>
              <a:defRPr sz="1050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ontent Placeholder 13"/>
          <p:cNvSpPr>
            <a:spLocks noGrp="1"/>
          </p:cNvSpPr>
          <p:nvPr>
            <p:ph sz="quarter" idx="20"/>
          </p:nvPr>
        </p:nvSpPr>
        <p:spPr>
          <a:xfrm>
            <a:off x="6194552" y="4717009"/>
            <a:ext cx="2441448" cy="1326605"/>
          </a:xfrm>
        </p:spPr>
        <p:txBody>
          <a:bodyPr>
            <a:normAutofit/>
          </a:bodyPr>
          <a:lstStyle>
            <a:lvl1pPr marL="0" indent="0">
              <a:buNone/>
              <a:defRPr sz="1050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13"/>
          <p:cNvSpPr>
            <a:spLocks noGrp="1"/>
          </p:cNvSpPr>
          <p:nvPr>
            <p:ph sz="quarter" idx="21"/>
          </p:nvPr>
        </p:nvSpPr>
        <p:spPr>
          <a:xfrm>
            <a:off x="8835136" y="4717009"/>
            <a:ext cx="2441448" cy="1326605"/>
          </a:xfrm>
        </p:spPr>
        <p:txBody>
          <a:bodyPr>
            <a:normAutofit/>
          </a:bodyPr>
          <a:lstStyle>
            <a:lvl1pPr marL="0" indent="0">
              <a:buNone/>
              <a:defRPr sz="1050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2"/>
          </p:nvPr>
        </p:nvSpPr>
        <p:spPr>
          <a:xfrm>
            <a:off x="913384" y="3057006"/>
            <a:ext cx="24384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 dirty="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3554984" y="3057006"/>
            <a:ext cx="24384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6196584" y="3057006"/>
            <a:ext cx="24384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8838184" y="3057006"/>
            <a:ext cx="24384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536906154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ght Grid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3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3384" y="1397002"/>
            <a:ext cx="24384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 dirty="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554984" y="1397002"/>
            <a:ext cx="24384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196584" y="1397002"/>
            <a:ext cx="24384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8838184" y="1397002"/>
            <a:ext cx="24384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913384" y="4717009"/>
            <a:ext cx="2441448" cy="1326605"/>
          </a:xfrm>
        </p:spPr>
        <p:txBody>
          <a:bodyPr/>
          <a:lstStyle>
            <a:lvl1pPr marL="0" indent="0">
              <a:buNone/>
              <a:defRPr sz="1050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13"/>
          <p:cNvSpPr>
            <a:spLocks noGrp="1"/>
          </p:cNvSpPr>
          <p:nvPr>
            <p:ph sz="quarter" idx="19"/>
          </p:nvPr>
        </p:nvSpPr>
        <p:spPr>
          <a:xfrm>
            <a:off x="3553968" y="4717009"/>
            <a:ext cx="2441448" cy="1326605"/>
          </a:xfrm>
        </p:spPr>
        <p:txBody>
          <a:bodyPr>
            <a:normAutofit/>
          </a:bodyPr>
          <a:lstStyle>
            <a:lvl1pPr marL="0" indent="0">
              <a:buNone/>
              <a:defRPr sz="1050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ontent Placeholder 13"/>
          <p:cNvSpPr>
            <a:spLocks noGrp="1"/>
          </p:cNvSpPr>
          <p:nvPr>
            <p:ph sz="quarter" idx="20"/>
          </p:nvPr>
        </p:nvSpPr>
        <p:spPr>
          <a:xfrm>
            <a:off x="6194552" y="4717009"/>
            <a:ext cx="2441448" cy="1326605"/>
          </a:xfrm>
        </p:spPr>
        <p:txBody>
          <a:bodyPr>
            <a:normAutofit/>
          </a:bodyPr>
          <a:lstStyle>
            <a:lvl1pPr marL="0" indent="0">
              <a:buNone/>
              <a:defRPr sz="1050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13"/>
          <p:cNvSpPr>
            <a:spLocks noGrp="1"/>
          </p:cNvSpPr>
          <p:nvPr>
            <p:ph sz="quarter" idx="21"/>
          </p:nvPr>
        </p:nvSpPr>
        <p:spPr>
          <a:xfrm>
            <a:off x="8835136" y="4717009"/>
            <a:ext cx="2441448" cy="1326605"/>
          </a:xfrm>
        </p:spPr>
        <p:txBody>
          <a:bodyPr>
            <a:normAutofit/>
          </a:bodyPr>
          <a:lstStyle>
            <a:lvl1pPr marL="0" indent="0">
              <a:buNone/>
              <a:defRPr sz="1050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2"/>
          </p:nvPr>
        </p:nvSpPr>
        <p:spPr>
          <a:xfrm>
            <a:off x="913384" y="3057006"/>
            <a:ext cx="24384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 dirty="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3554984" y="3057006"/>
            <a:ext cx="24384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6196584" y="3057006"/>
            <a:ext cx="24384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8838184" y="3057006"/>
            <a:ext cx="24384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26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563539475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Gri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3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3328416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431792" y="1397000"/>
            <a:ext cx="3328416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7949184" y="1397000"/>
            <a:ext cx="3328416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11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4720990"/>
            <a:ext cx="3328416" cy="1370248"/>
          </a:xfrm>
        </p:spPr>
        <p:txBody>
          <a:bodyPr/>
          <a:lstStyle>
            <a:lvl1pPr marL="0" indent="0">
              <a:buNone/>
              <a:defRPr sz="1575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13"/>
          <p:cNvSpPr>
            <a:spLocks noGrp="1"/>
          </p:cNvSpPr>
          <p:nvPr>
            <p:ph sz="quarter" idx="19"/>
          </p:nvPr>
        </p:nvSpPr>
        <p:spPr>
          <a:xfrm>
            <a:off x="4431792" y="4720990"/>
            <a:ext cx="3328416" cy="1370248"/>
          </a:xfrm>
        </p:spPr>
        <p:txBody>
          <a:bodyPr/>
          <a:lstStyle>
            <a:lvl1pPr marL="0" indent="0">
              <a:buNone/>
              <a:defRPr sz="1575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13"/>
          <p:cNvSpPr>
            <a:spLocks noGrp="1"/>
          </p:cNvSpPr>
          <p:nvPr>
            <p:ph sz="quarter" idx="20"/>
          </p:nvPr>
        </p:nvSpPr>
        <p:spPr>
          <a:xfrm>
            <a:off x="7949184" y="4720990"/>
            <a:ext cx="3328416" cy="1370248"/>
          </a:xfrm>
        </p:spPr>
        <p:txBody>
          <a:bodyPr/>
          <a:lstStyle>
            <a:lvl1pPr marL="0" indent="0">
              <a:buNone/>
              <a:defRPr sz="1575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914400" y="3060985"/>
            <a:ext cx="3328416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431792" y="3060985"/>
            <a:ext cx="3328416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7949184" y="3060985"/>
            <a:ext cx="3328416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453759238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Grid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3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3328416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431792" y="1397000"/>
            <a:ext cx="3328416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7949184" y="1397000"/>
            <a:ext cx="3328416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11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4720990"/>
            <a:ext cx="3328416" cy="1370248"/>
          </a:xfrm>
        </p:spPr>
        <p:txBody>
          <a:bodyPr/>
          <a:lstStyle>
            <a:lvl1pPr marL="0" indent="0">
              <a:buNone/>
              <a:defRPr sz="1575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13"/>
          <p:cNvSpPr>
            <a:spLocks noGrp="1"/>
          </p:cNvSpPr>
          <p:nvPr>
            <p:ph sz="quarter" idx="19"/>
          </p:nvPr>
        </p:nvSpPr>
        <p:spPr>
          <a:xfrm>
            <a:off x="4431792" y="4720990"/>
            <a:ext cx="3328416" cy="1370248"/>
          </a:xfrm>
        </p:spPr>
        <p:txBody>
          <a:bodyPr/>
          <a:lstStyle>
            <a:lvl1pPr marL="0" indent="0">
              <a:buNone/>
              <a:defRPr sz="1575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13"/>
          <p:cNvSpPr>
            <a:spLocks noGrp="1"/>
          </p:cNvSpPr>
          <p:nvPr>
            <p:ph sz="quarter" idx="20"/>
          </p:nvPr>
        </p:nvSpPr>
        <p:spPr>
          <a:xfrm>
            <a:off x="7949184" y="4720990"/>
            <a:ext cx="3328416" cy="1370248"/>
          </a:xfrm>
        </p:spPr>
        <p:txBody>
          <a:bodyPr/>
          <a:lstStyle>
            <a:lvl1pPr marL="0" indent="0">
              <a:buNone/>
              <a:defRPr sz="1575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914400" y="3060985"/>
            <a:ext cx="3328416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431792" y="3060985"/>
            <a:ext cx="3328416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7949184" y="3060985"/>
            <a:ext cx="3328416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26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64463634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37E2ACFC-F7BA-432C-A8F8-0FB4AE4F6B7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92987" y="494431"/>
            <a:ext cx="6133952" cy="5599831"/>
          </a:xfrm>
          <a:custGeom>
            <a:avLst/>
            <a:gdLst>
              <a:gd name="connsiteX0" fmla="*/ 3629389 w 6133952"/>
              <a:gd name="connsiteY0" fmla="*/ 3841206 h 5599830"/>
              <a:gd name="connsiteX1" fmla="*/ 4716748 w 6133952"/>
              <a:gd name="connsiteY1" fmla="*/ 4333023 h 5599830"/>
              <a:gd name="connsiteX2" fmla="*/ 4959594 w 6133952"/>
              <a:gd name="connsiteY2" fmla="*/ 4749838 h 5599830"/>
              <a:gd name="connsiteX3" fmla="*/ 4347502 w 6133952"/>
              <a:gd name="connsiteY3" fmla="*/ 5276360 h 5599830"/>
              <a:gd name="connsiteX4" fmla="*/ 4005338 w 6133952"/>
              <a:gd name="connsiteY4" fmla="*/ 5196337 h 5599830"/>
              <a:gd name="connsiteX5" fmla="*/ 3696025 w 6133952"/>
              <a:gd name="connsiteY5" fmla="*/ 5348664 h 5599830"/>
              <a:gd name="connsiteX6" fmla="*/ 3159571 w 6133952"/>
              <a:gd name="connsiteY6" fmla="*/ 5589688 h 5599830"/>
              <a:gd name="connsiteX7" fmla="*/ 2365135 w 6133952"/>
              <a:gd name="connsiteY7" fmla="*/ 4899456 h 5599830"/>
              <a:gd name="connsiteX8" fmla="*/ 2719241 w 6133952"/>
              <a:gd name="connsiteY8" fmla="*/ 4232251 h 5599830"/>
              <a:gd name="connsiteX9" fmla="*/ 3629389 w 6133952"/>
              <a:gd name="connsiteY9" fmla="*/ 3841206 h 5599830"/>
              <a:gd name="connsiteX10" fmla="*/ 3515060 w 6133952"/>
              <a:gd name="connsiteY10" fmla="*/ 0 h 5599830"/>
              <a:gd name="connsiteX11" fmla="*/ 5139073 w 6133952"/>
              <a:gd name="connsiteY11" fmla="*/ 1624012 h 5599830"/>
              <a:gd name="connsiteX12" fmla="*/ 5011450 w 6133952"/>
              <a:gd name="connsiteY12" fmla="*/ 2256152 h 5599830"/>
              <a:gd name="connsiteX13" fmla="*/ 4946195 w 6133952"/>
              <a:gd name="connsiteY13" fmla="*/ 2391613 h 5599830"/>
              <a:gd name="connsiteX14" fmla="*/ 5062926 w 6133952"/>
              <a:gd name="connsiteY14" fmla="*/ 2410326 h 5599830"/>
              <a:gd name="connsiteX15" fmla="*/ 5345368 w 6133952"/>
              <a:gd name="connsiteY15" fmla="*/ 2419356 h 5599830"/>
              <a:gd name="connsiteX16" fmla="*/ 5893244 w 6133952"/>
              <a:gd name="connsiteY16" fmla="*/ 2515113 h 5599830"/>
              <a:gd name="connsiteX17" fmla="*/ 6117847 w 6133952"/>
              <a:gd name="connsiteY17" fmla="*/ 2980409 h 5599830"/>
              <a:gd name="connsiteX18" fmla="*/ 5598041 w 6133952"/>
              <a:gd name="connsiteY18" fmla="*/ 3259311 h 5599830"/>
              <a:gd name="connsiteX19" fmla="*/ 4993203 w 6133952"/>
              <a:gd name="connsiteY19" fmla="*/ 3380498 h 5599830"/>
              <a:gd name="connsiteX20" fmla="*/ 4792192 w 6133952"/>
              <a:gd name="connsiteY20" fmla="*/ 3632159 h 5599830"/>
              <a:gd name="connsiteX21" fmla="*/ 4679126 w 6133952"/>
              <a:gd name="connsiteY21" fmla="*/ 3886914 h 5599830"/>
              <a:gd name="connsiteX22" fmla="*/ 4458199 w 6133952"/>
              <a:gd name="connsiteY22" fmla="*/ 3901685 h 5599830"/>
              <a:gd name="connsiteX23" fmla="*/ 3347527 w 6133952"/>
              <a:gd name="connsiteY23" fmla="*/ 3703982 h 5599830"/>
              <a:gd name="connsiteX24" fmla="*/ 3180042 w 6133952"/>
              <a:gd name="connsiteY24" fmla="*/ 3766491 h 5599830"/>
              <a:gd name="connsiteX25" fmla="*/ 2361294 w 6133952"/>
              <a:gd name="connsiteY25" fmla="*/ 4349481 h 5599830"/>
              <a:gd name="connsiteX26" fmla="*/ 1627160 w 6133952"/>
              <a:gd name="connsiteY26" fmla="*/ 4604831 h 5599830"/>
              <a:gd name="connsiteX27" fmla="*/ 1168225 w 6133952"/>
              <a:gd name="connsiteY27" fmla="*/ 4474532 h 5599830"/>
              <a:gd name="connsiteX28" fmla="*/ 799331 w 6133952"/>
              <a:gd name="connsiteY28" fmla="*/ 3766369 h 5599830"/>
              <a:gd name="connsiteX29" fmla="*/ 597861 w 6133952"/>
              <a:gd name="connsiteY29" fmla="*/ 2973145 h 5599830"/>
              <a:gd name="connsiteX30" fmla="*/ 145528 w 6133952"/>
              <a:gd name="connsiteY30" fmla="*/ 2449661 h 5599830"/>
              <a:gd name="connsiteX31" fmla="*/ 42567 w 6133952"/>
              <a:gd name="connsiteY31" fmla="*/ 1742698 h 5599830"/>
              <a:gd name="connsiteX32" fmla="*/ 605918 w 6133952"/>
              <a:gd name="connsiteY32" fmla="*/ 1331451 h 5599830"/>
              <a:gd name="connsiteX33" fmla="*/ 937874 w 6133952"/>
              <a:gd name="connsiteY33" fmla="*/ 1419326 h 5599830"/>
              <a:gd name="connsiteX34" fmla="*/ 963049 w 6133952"/>
              <a:gd name="connsiteY34" fmla="*/ 1432903 h 5599830"/>
              <a:gd name="connsiteX35" fmla="*/ 970505 w 6133952"/>
              <a:gd name="connsiteY35" fmla="*/ 1408882 h 5599830"/>
              <a:gd name="connsiteX36" fmla="*/ 1776439 w 6133952"/>
              <a:gd name="connsiteY36" fmla="*/ 874672 h 5599830"/>
              <a:gd name="connsiteX37" fmla="*/ 2036539 w 6133952"/>
              <a:gd name="connsiteY37" fmla="*/ 913994 h 5599830"/>
              <a:gd name="connsiteX38" fmla="*/ 2053241 w 6133952"/>
              <a:gd name="connsiteY38" fmla="*/ 920108 h 5599830"/>
              <a:gd name="connsiteX39" fmla="*/ 2087056 w 6133952"/>
              <a:gd name="connsiteY39" fmla="*/ 849911 h 5599830"/>
              <a:gd name="connsiteX40" fmla="*/ 3515060 w 6133952"/>
              <a:gd name="connsiteY40" fmla="*/ 0 h 55998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952" h="5599830">
                <a:moveTo>
                  <a:pt x="3629389" y="3841206"/>
                </a:moveTo>
                <a:cubicBezTo>
                  <a:pt x="4032101" y="3843477"/>
                  <a:pt x="4434505" y="4056236"/>
                  <a:pt x="4716748" y="4333023"/>
                </a:cubicBezTo>
                <a:cubicBezTo>
                  <a:pt x="4833592" y="4447603"/>
                  <a:pt x="4936762" y="4587362"/>
                  <a:pt x="4959594" y="4749838"/>
                </a:cubicBezTo>
                <a:cubicBezTo>
                  <a:pt x="5008691" y="5099114"/>
                  <a:pt x="4678775" y="5388382"/>
                  <a:pt x="4347502" y="5276360"/>
                </a:cubicBezTo>
                <a:cubicBezTo>
                  <a:pt x="4235575" y="5238506"/>
                  <a:pt x="4123123" y="5183905"/>
                  <a:pt x="4005338" y="5196337"/>
                </a:cubicBezTo>
                <a:cubicBezTo>
                  <a:pt x="3889954" y="5208508"/>
                  <a:pt x="3791862" y="5282758"/>
                  <a:pt x="3696025" y="5348664"/>
                </a:cubicBezTo>
                <a:cubicBezTo>
                  <a:pt x="3533062" y="5460748"/>
                  <a:pt x="3354301" y="5557423"/>
                  <a:pt x="3159571" y="5589688"/>
                </a:cubicBezTo>
                <a:cubicBezTo>
                  <a:pt x="2729081" y="5661012"/>
                  <a:pt x="2333411" y="5348269"/>
                  <a:pt x="2365135" y="4899456"/>
                </a:cubicBezTo>
                <a:cubicBezTo>
                  <a:pt x="2383469" y="4640092"/>
                  <a:pt x="2543824" y="4414025"/>
                  <a:pt x="2719241" y="4232251"/>
                </a:cubicBezTo>
                <a:cubicBezTo>
                  <a:pt x="2960381" y="3982390"/>
                  <a:pt x="3282057" y="3839245"/>
                  <a:pt x="3629389" y="3841206"/>
                </a:cubicBezTo>
                <a:close/>
                <a:moveTo>
                  <a:pt x="3515060" y="0"/>
                </a:moveTo>
                <a:cubicBezTo>
                  <a:pt x="4411977" y="0"/>
                  <a:pt x="5139072" y="727095"/>
                  <a:pt x="5139073" y="1624012"/>
                </a:cubicBezTo>
                <a:cubicBezTo>
                  <a:pt x="5139073" y="1848241"/>
                  <a:pt x="5093630" y="2061858"/>
                  <a:pt x="5011450" y="2256152"/>
                </a:cubicBezTo>
                <a:lnTo>
                  <a:pt x="4946195" y="2391613"/>
                </a:lnTo>
                <a:lnTo>
                  <a:pt x="5062926" y="2410326"/>
                </a:lnTo>
                <a:cubicBezTo>
                  <a:pt x="5156287" y="2419488"/>
                  <a:pt x="5251682" y="2419143"/>
                  <a:pt x="5345368" y="2419356"/>
                </a:cubicBezTo>
                <a:cubicBezTo>
                  <a:pt x="5532774" y="2419785"/>
                  <a:pt x="5728454" y="2425852"/>
                  <a:pt x="5893244" y="2515113"/>
                </a:cubicBezTo>
                <a:cubicBezTo>
                  <a:pt x="6058005" y="2604372"/>
                  <a:pt x="6178947" y="2803298"/>
                  <a:pt x="6117847" y="2980409"/>
                </a:cubicBezTo>
                <a:cubicBezTo>
                  <a:pt x="6049639" y="3178141"/>
                  <a:pt x="5806896" y="3248737"/>
                  <a:pt x="5598041" y="3259311"/>
                </a:cubicBezTo>
                <a:cubicBezTo>
                  <a:pt x="5389188" y="3269850"/>
                  <a:pt x="5160476" y="3254958"/>
                  <a:pt x="4993203" y="3380498"/>
                </a:cubicBezTo>
                <a:cubicBezTo>
                  <a:pt x="4913840" y="3440035"/>
                  <a:pt x="4833776" y="3541948"/>
                  <a:pt x="4792192" y="3632159"/>
                </a:cubicBezTo>
                <a:cubicBezTo>
                  <a:pt x="4753125" y="3716943"/>
                  <a:pt x="4767496" y="3827897"/>
                  <a:pt x="4679126" y="3886914"/>
                </a:cubicBezTo>
                <a:cubicBezTo>
                  <a:pt x="4615944" y="3929077"/>
                  <a:pt x="4532322" y="3918323"/>
                  <a:pt x="4458199" y="3901685"/>
                </a:cubicBezTo>
                <a:cubicBezTo>
                  <a:pt x="4061665" y="3812732"/>
                  <a:pt x="3772224" y="3580405"/>
                  <a:pt x="3347527" y="3703982"/>
                </a:cubicBezTo>
                <a:cubicBezTo>
                  <a:pt x="3290226" y="3720652"/>
                  <a:pt x="3234153" y="3741978"/>
                  <a:pt x="3180042" y="3766491"/>
                </a:cubicBezTo>
                <a:cubicBezTo>
                  <a:pt x="2887351" y="3899140"/>
                  <a:pt x="2595825" y="4132415"/>
                  <a:pt x="2361294" y="4349481"/>
                </a:cubicBezTo>
                <a:cubicBezTo>
                  <a:pt x="2177443" y="4519602"/>
                  <a:pt x="1898699" y="4613116"/>
                  <a:pt x="1627160" y="4604831"/>
                </a:cubicBezTo>
                <a:cubicBezTo>
                  <a:pt x="1464236" y="4599860"/>
                  <a:pt x="1303906" y="4558240"/>
                  <a:pt x="1168225" y="4474532"/>
                </a:cubicBezTo>
                <a:cubicBezTo>
                  <a:pt x="934244" y="4330177"/>
                  <a:pt x="841830" y="4037946"/>
                  <a:pt x="799331" y="3766369"/>
                </a:cubicBezTo>
                <a:cubicBezTo>
                  <a:pt x="756831" y="3494730"/>
                  <a:pt x="742213" y="3207097"/>
                  <a:pt x="597861" y="2973145"/>
                </a:cubicBezTo>
                <a:cubicBezTo>
                  <a:pt x="476519" y="2776520"/>
                  <a:pt x="275966" y="2640376"/>
                  <a:pt x="145528" y="2449661"/>
                </a:cubicBezTo>
                <a:cubicBezTo>
                  <a:pt x="5829" y="2245405"/>
                  <a:pt x="-43412" y="1974715"/>
                  <a:pt x="42567" y="1742698"/>
                </a:cubicBezTo>
                <a:cubicBezTo>
                  <a:pt x="128552" y="1510676"/>
                  <a:pt x="358489" y="1331606"/>
                  <a:pt x="605918" y="1331451"/>
                </a:cubicBezTo>
                <a:cubicBezTo>
                  <a:pt x="724043" y="1331384"/>
                  <a:pt x="832781" y="1367593"/>
                  <a:pt x="937874" y="1419326"/>
                </a:cubicBezTo>
                <a:lnTo>
                  <a:pt x="963049" y="1432903"/>
                </a:lnTo>
                <a:lnTo>
                  <a:pt x="970505" y="1408882"/>
                </a:lnTo>
                <a:cubicBezTo>
                  <a:pt x="1103288" y="1094949"/>
                  <a:pt x="1414139" y="874672"/>
                  <a:pt x="1776439" y="874672"/>
                </a:cubicBezTo>
                <a:cubicBezTo>
                  <a:pt x="1867014" y="874672"/>
                  <a:pt x="1954374" y="888439"/>
                  <a:pt x="2036539" y="913994"/>
                </a:cubicBezTo>
                <a:lnTo>
                  <a:pt x="2053241" y="920108"/>
                </a:lnTo>
                <a:lnTo>
                  <a:pt x="2087056" y="849911"/>
                </a:lnTo>
                <a:cubicBezTo>
                  <a:pt x="2362066" y="343666"/>
                  <a:pt x="2898429" y="-1"/>
                  <a:pt x="351506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 sz="1800"/>
            </a:lvl1pPr>
          </a:lstStyle>
          <a:p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213462919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Gri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3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5926" y="1397000"/>
            <a:ext cx="5085589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193536" y="1397000"/>
            <a:ext cx="5085589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7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4704407"/>
            <a:ext cx="5084064" cy="1339207"/>
          </a:xfrm>
        </p:spPr>
        <p:txBody>
          <a:bodyPr/>
          <a:lstStyle>
            <a:lvl1pPr marL="0" indent="0">
              <a:buNone/>
              <a:defRPr sz="1575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13"/>
          <p:cNvSpPr>
            <a:spLocks noGrp="1"/>
          </p:cNvSpPr>
          <p:nvPr>
            <p:ph sz="quarter" idx="19"/>
          </p:nvPr>
        </p:nvSpPr>
        <p:spPr>
          <a:xfrm>
            <a:off x="6193536" y="4704407"/>
            <a:ext cx="5084064" cy="1339207"/>
          </a:xfrm>
        </p:spPr>
        <p:txBody>
          <a:bodyPr/>
          <a:lstStyle>
            <a:lvl1pPr marL="0" indent="0">
              <a:buNone/>
              <a:defRPr sz="1575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915926" y="3060985"/>
            <a:ext cx="5085589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6193536" y="3060985"/>
            <a:ext cx="5085589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055231015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Grid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3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5926" y="1397000"/>
            <a:ext cx="5085589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193536" y="1397000"/>
            <a:ext cx="5085589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7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4704407"/>
            <a:ext cx="5084064" cy="1339207"/>
          </a:xfrm>
        </p:spPr>
        <p:txBody>
          <a:bodyPr/>
          <a:lstStyle>
            <a:lvl1pPr marL="0" indent="0">
              <a:buNone/>
              <a:defRPr sz="1575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13"/>
          <p:cNvSpPr>
            <a:spLocks noGrp="1"/>
          </p:cNvSpPr>
          <p:nvPr>
            <p:ph sz="quarter" idx="19"/>
          </p:nvPr>
        </p:nvSpPr>
        <p:spPr>
          <a:xfrm>
            <a:off x="6193536" y="4704407"/>
            <a:ext cx="5084064" cy="1339207"/>
          </a:xfrm>
        </p:spPr>
        <p:txBody>
          <a:bodyPr/>
          <a:lstStyle>
            <a:lvl1pPr marL="0" indent="0">
              <a:buNone/>
              <a:defRPr sz="1575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915926" y="3060985"/>
            <a:ext cx="5085589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6193536" y="3060985"/>
            <a:ext cx="5085589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26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2257751386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3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6999"/>
            <a:ext cx="2438400" cy="4266109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 dirty="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556000" y="1396999"/>
            <a:ext cx="2438400" cy="4266109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197600" y="1396999"/>
            <a:ext cx="2438400" cy="4266109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8839200" y="1396999"/>
            <a:ext cx="2438400" cy="4266109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9"/>
          </p:nvPr>
        </p:nvSpPr>
        <p:spPr>
          <a:xfrm>
            <a:off x="914400" y="5053712"/>
            <a:ext cx="2441448" cy="609398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75" indent="-128588">
              <a:defRPr sz="1050">
                <a:solidFill>
                  <a:srgbClr val="FFFFFF"/>
                </a:solidFill>
              </a:defRPr>
            </a:lvl3pPr>
            <a:lvl4pPr marL="385763" indent="-128588">
              <a:defRPr sz="1050">
                <a:solidFill>
                  <a:srgbClr val="FFFFFF"/>
                </a:solidFill>
              </a:defRPr>
            </a:lvl4pPr>
            <a:lvl5pPr marL="557213" indent="-171450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20"/>
          </p:nvPr>
        </p:nvSpPr>
        <p:spPr>
          <a:xfrm>
            <a:off x="3554984" y="5053712"/>
            <a:ext cx="2441448" cy="609398"/>
          </a:xfrm>
          <a:solidFill>
            <a:schemeClr val="accent3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75" indent="-128588">
              <a:defRPr sz="1050">
                <a:solidFill>
                  <a:srgbClr val="FFFFFF"/>
                </a:solidFill>
              </a:defRPr>
            </a:lvl3pPr>
            <a:lvl4pPr marL="385763" indent="-128588">
              <a:defRPr sz="1050">
                <a:solidFill>
                  <a:srgbClr val="FFFFFF"/>
                </a:solidFill>
              </a:defRPr>
            </a:lvl4pPr>
            <a:lvl5pPr marL="557213" indent="-171450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6195568" y="5053712"/>
            <a:ext cx="2441448" cy="609398"/>
          </a:xfrm>
          <a:solidFill>
            <a:schemeClr val="accent5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75" indent="-128588">
              <a:defRPr sz="1050">
                <a:solidFill>
                  <a:srgbClr val="FFFFFF"/>
                </a:solidFill>
              </a:defRPr>
            </a:lvl3pPr>
            <a:lvl4pPr marL="385763" indent="-128588">
              <a:defRPr sz="1050">
                <a:solidFill>
                  <a:srgbClr val="FFFFFF"/>
                </a:solidFill>
              </a:defRPr>
            </a:lvl4pPr>
            <a:lvl5pPr marL="557213" indent="-171450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8836152" y="5053712"/>
            <a:ext cx="2441448" cy="609398"/>
          </a:xfrm>
          <a:solidFill>
            <a:schemeClr val="bg2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75" indent="-128588">
              <a:defRPr sz="1050">
                <a:solidFill>
                  <a:srgbClr val="FFFFFF"/>
                </a:solidFill>
              </a:defRPr>
            </a:lvl3pPr>
            <a:lvl4pPr marL="385763" indent="-128588">
              <a:defRPr sz="1050">
                <a:solidFill>
                  <a:srgbClr val="FFFFFF"/>
                </a:solidFill>
              </a:defRPr>
            </a:lvl4pPr>
            <a:lvl5pPr marL="557213" indent="-171450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013054056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Bar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3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6999"/>
            <a:ext cx="2438400" cy="4266109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 dirty="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556000" y="1396999"/>
            <a:ext cx="2438400" cy="4266109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197600" y="1396999"/>
            <a:ext cx="2438400" cy="4266109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8839200" y="1396999"/>
            <a:ext cx="2438400" cy="4266109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9"/>
          </p:nvPr>
        </p:nvSpPr>
        <p:spPr>
          <a:xfrm>
            <a:off x="914400" y="5053712"/>
            <a:ext cx="2441448" cy="609398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75" indent="-128588">
              <a:defRPr sz="1050">
                <a:solidFill>
                  <a:srgbClr val="FFFFFF"/>
                </a:solidFill>
              </a:defRPr>
            </a:lvl3pPr>
            <a:lvl4pPr marL="385763" indent="-128588">
              <a:defRPr sz="1050">
                <a:solidFill>
                  <a:srgbClr val="FFFFFF"/>
                </a:solidFill>
              </a:defRPr>
            </a:lvl4pPr>
            <a:lvl5pPr marL="557213" indent="-171450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20"/>
          </p:nvPr>
        </p:nvSpPr>
        <p:spPr>
          <a:xfrm>
            <a:off x="3554984" y="5053712"/>
            <a:ext cx="2441448" cy="609398"/>
          </a:xfrm>
          <a:solidFill>
            <a:schemeClr val="accent3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75" indent="-128588">
              <a:defRPr sz="1050">
                <a:solidFill>
                  <a:srgbClr val="FFFFFF"/>
                </a:solidFill>
              </a:defRPr>
            </a:lvl3pPr>
            <a:lvl4pPr marL="385763" indent="-128588">
              <a:defRPr sz="1050">
                <a:solidFill>
                  <a:srgbClr val="FFFFFF"/>
                </a:solidFill>
              </a:defRPr>
            </a:lvl4pPr>
            <a:lvl5pPr marL="557213" indent="-171450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6195568" y="5053712"/>
            <a:ext cx="2441448" cy="609398"/>
          </a:xfrm>
          <a:solidFill>
            <a:schemeClr val="accent5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75" indent="-128588">
              <a:defRPr sz="1050">
                <a:solidFill>
                  <a:srgbClr val="FFFFFF"/>
                </a:solidFill>
              </a:defRPr>
            </a:lvl3pPr>
            <a:lvl4pPr marL="385763" indent="-128588">
              <a:defRPr sz="1050">
                <a:solidFill>
                  <a:srgbClr val="FFFFFF"/>
                </a:solidFill>
              </a:defRPr>
            </a:lvl4pPr>
            <a:lvl5pPr marL="557213" indent="-171450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8836152" y="5053712"/>
            <a:ext cx="2441448" cy="609398"/>
          </a:xfrm>
          <a:solidFill>
            <a:schemeClr val="bg2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75" indent="-128588">
              <a:defRPr sz="1050">
                <a:solidFill>
                  <a:srgbClr val="FFFFFF"/>
                </a:solidFill>
              </a:defRPr>
            </a:lvl3pPr>
            <a:lvl4pPr marL="385763" indent="-128588">
              <a:defRPr sz="1050">
                <a:solidFill>
                  <a:srgbClr val="FFFFFF"/>
                </a:solidFill>
              </a:defRPr>
            </a:lvl4pPr>
            <a:lvl5pPr marL="557213" indent="-171450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2141280889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3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6999"/>
            <a:ext cx="3328416" cy="4266109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 dirty="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431792" y="1396999"/>
            <a:ext cx="3328416" cy="4266109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7949184" y="1396999"/>
            <a:ext cx="3328416" cy="4266109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914400" y="5053712"/>
            <a:ext cx="3328416" cy="609398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75" indent="-128588">
              <a:defRPr sz="1050">
                <a:solidFill>
                  <a:srgbClr val="FFFFFF"/>
                </a:solidFill>
              </a:defRPr>
            </a:lvl3pPr>
            <a:lvl4pPr marL="385763" indent="-128588">
              <a:defRPr sz="1050">
                <a:solidFill>
                  <a:srgbClr val="FFFFFF"/>
                </a:solidFill>
              </a:defRPr>
            </a:lvl4pPr>
            <a:lvl5pPr marL="557213" indent="-171450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4431792" y="5053712"/>
            <a:ext cx="3328416" cy="609398"/>
          </a:xfrm>
          <a:solidFill>
            <a:schemeClr val="accent4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75" indent="-128588">
              <a:defRPr sz="1050">
                <a:solidFill>
                  <a:srgbClr val="FFFFFF"/>
                </a:solidFill>
              </a:defRPr>
            </a:lvl3pPr>
            <a:lvl4pPr marL="385763" indent="-128588">
              <a:defRPr sz="1050">
                <a:solidFill>
                  <a:srgbClr val="FFFFFF"/>
                </a:solidFill>
              </a:defRPr>
            </a:lvl4pPr>
            <a:lvl5pPr marL="557213" indent="-171450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7949184" y="5053712"/>
            <a:ext cx="3328416" cy="609398"/>
          </a:xfrm>
          <a:solidFill>
            <a:schemeClr val="bg2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75" indent="-128588">
              <a:defRPr sz="1050">
                <a:solidFill>
                  <a:srgbClr val="FFFFFF"/>
                </a:solidFill>
              </a:defRPr>
            </a:lvl3pPr>
            <a:lvl4pPr marL="385763" indent="-128588">
              <a:defRPr sz="1050">
                <a:solidFill>
                  <a:srgbClr val="FFFFFF"/>
                </a:solidFill>
              </a:defRPr>
            </a:lvl4pPr>
            <a:lvl5pPr marL="557213" indent="-171450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171416666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Bar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3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6999"/>
            <a:ext cx="3328416" cy="4266109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 dirty="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431792" y="1396999"/>
            <a:ext cx="3328416" cy="4266109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7949184" y="1396999"/>
            <a:ext cx="3328416" cy="4266109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914400" y="5053712"/>
            <a:ext cx="3328416" cy="609398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75" indent="-128588">
              <a:defRPr sz="1050">
                <a:solidFill>
                  <a:srgbClr val="FFFFFF"/>
                </a:solidFill>
              </a:defRPr>
            </a:lvl3pPr>
            <a:lvl4pPr marL="385763" indent="-128588">
              <a:defRPr sz="1050">
                <a:solidFill>
                  <a:srgbClr val="FFFFFF"/>
                </a:solidFill>
              </a:defRPr>
            </a:lvl4pPr>
            <a:lvl5pPr marL="557213" indent="-171450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4431792" y="5053712"/>
            <a:ext cx="3328416" cy="609398"/>
          </a:xfrm>
          <a:solidFill>
            <a:schemeClr val="accent4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75" indent="-128588">
              <a:defRPr sz="1050">
                <a:solidFill>
                  <a:srgbClr val="FFFFFF"/>
                </a:solidFill>
              </a:defRPr>
            </a:lvl3pPr>
            <a:lvl4pPr marL="385763" indent="-128588">
              <a:defRPr sz="1050">
                <a:solidFill>
                  <a:srgbClr val="FFFFFF"/>
                </a:solidFill>
              </a:defRPr>
            </a:lvl4pPr>
            <a:lvl5pPr marL="557213" indent="-171450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7949184" y="5053712"/>
            <a:ext cx="3328416" cy="609398"/>
          </a:xfrm>
          <a:solidFill>
            <a:schemeClr val="bg2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75" indent="-128588">
              <a:defRPr sz="1050">
                <a:solidFill>
                  <a:srgbClr val="FFFFFF"/>
                </a:solidFill>
              </a:defRPr>
            </a:lvl3pPr>
            <a:lvl4pPr marL="385763" indent="-128588">
              <a:defRPr sz="1050">
                <a:solidFill>
                  <a:srgbClr val="FFFFFF"/>
                </a:solidFill>
              </a:defRPr>
            </a:lvl4pPr>
            <a:lvl5pPr marL="557213" indent="-171450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848920119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ar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3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6999"/>
            <a:ext cx="5085589" cy="4266109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192012" y="1396999"/>
            <a:ext cx="5085589" cy="4266109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914400" y="5053712"/>
            <a:ext cx="5084064" cy="609398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75" indent="-128588">
              <a:defRPr sz="1050">
                <a:solidFill>
                  <a:srgbClr val="FFFFFF"/>
                </a:solidFill>
              </a:defRPr>
            </a:lvl3pPr>
            <a:lvl4pPr marL="385763" indent="-128588">
              <a:defRPr sz="1050">
                <a:solidFill>
                  <a:srgbClr val="FFFFFF"/>
                </a:solidFill>
              </a:defRPr>
            </a:lvl4pPr>
            <a:lvl5pPr marL="557213" indent="-171450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6193536" y="5053712"/>
            <a:ext cx="5084064" cy="609398"/>
          </a:xfrm>
          <a:solidFill>
            <a:schemeClr val="accent4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75" indent="-128588">
              <a:defRPr sz="1050">
                <a:solidFill>
                  <a:srgbClr val="FFFFFF"/>
                </a:solidFill>
              </a:defRPr>
            </a:lvl3pPr>
            <a:lvl4pPr marL="385763" indent="-128588">
              <a:defRPr sz="1050">
                <a:solidFill>
                  <a:srgbClr val="FFFFFF"/>
                </a:solidFill>
              </a:defRPr>
            </a:lvl4pPr>
            <a:lvl5pPr marL="557213" indent="-171450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2774020700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3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6999"/>
            <a:ext cx="5085589" cy="4266109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192012" y="1396999"/>
            <a:ext cx="5085589" cy="4266109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914400" y="5053712"/>
            <a:ext cx="5084064" cy="609398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75" indent="-128588">
              <a:defRPr sz="1050">
                <a:solidFill>
                  <a:srgbClr val="FFFFFF"/>
                </a:solidFill>
              </a:defRPr>
            </a:lvl3pPr>
            <a:lvl4pPr marL="385763" indent="-128588">
              <a:defRPr sz="1050">
                <a:solidFill>
                  <a:srgbClr val="FFFFFF"/>
                </a:solidFill>
              </a:defRPr>
            </a:lvl4pPr>
            <a:lvl5pPr marL="557213" indent="-171450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6193536" y="5053712"/>
            <a:ext cx="5084064" cy="609398"/>
          </a:xfrm>
          <a:solidFill>
            <a:schemeClr val="accent4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75" indent="-128588">
              <a:defRPr sz="1050">
                <a:solidFill>
                  <a:srgbClr val="FFFFFF"/>
                </a:solidFill>
              </a:defRPr>
            </a:lvl3pPr>
            <a:lvl4pPr marL="385763" indent="-128588">
              <a:defRPr sz="1050">
                <a:solidFill>
                  <a:srgbClr val="FFFFFF"/>
                </a:solidFill>
              </a:defRPr>
            </a:lvl4pPr>
            <a:lvl5pPr marL="557213" indent="-171450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091872236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a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3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2438400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 dirty="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556000" y="1397000"/>
            <a:ext cx="2438400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197600" y="1397000"/>
            <a:ext cx="2438400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8839200" y="1397000"/>
            <a:ext cx="2438400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9"/>
          </p:nvPr>
        </p:nvSpPr>
        <p:spPr>
          <a:xfrm>
            <a:off x="914400" y="3431671"/>
            <a:ext cx="2441448" cy="609398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75" indent="-128588">
              <a:defRPr sz="1050">
                <a:solidFill>
                  <a:srgbClr val="FFFFFF"/>
                </a:solidFill>
              </a:defRPr>
            </a:lvl3pPr>
            <a:lvl4pPr marL="385763" indent="-128588">
              <a:defRPr sz="1050">
                <a:solidFill>
                  <a:srgbClr val="FFFFFF"/>
                </a:solidFill>
              </a:defRPr>
            </a:lvl4pPr>
            <a:lvl5pPr marL="557213" indent="-171450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20"/>
          </p:nvPr>
        </p:nvSpPr>
        <p:spPr>
          <a:xfrm>
            <a:off x="3554984" y="3431671"/>
            <a:ext cx="2441448" cy="609398"/>
          </a:xfrm>
          <a:solidFill>
            <a:schemeClr val="accent3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75" indent="-128588">
              <a:defRPr sz="1050">
                <a:solidFill>
                  <a:srgbClr val="FFFFFF"/>
                </a:solidFill>
              </a:defRPr>
            </a:lvl3pPr>
            <a:lvl4pPr marL="385763" indent="-128588">
              <a:defRPr sz="1050">
                <a:solidFill>
                  <a:srgbClr val="FFFFFF"/>
                </a:solidFill>
              </a:defRPr>
            </a:lvl4pPr>
            <a:lvl5pPr marL="557213" indent="-171450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6195568" y="3431671"/>
            <a:ext cx="2441448" cy="609398"/>
          </a:xfrm>
          <a:solidFill>
            <a:schemeClr val="accent5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75" indent="-128588">
              <a:defRPr sz="1050">
                <a:solidFill>
                  <a:srgbClr val="FFFFFF"/>
                </a:solidFill>
              </a:defRPr>
            </a:lvl3pPr>
            <a:lvl4pPr marL="385763" indent="-128588">
              <a:defRPr sz="1050">
                <a:solidFill>
                  <a:srgbClr val="FFFFFF"/>
                </a:solidFill>
              </a:defRPr>
            </a:lvl4pPr>
            <a:lvl5pPr marL="557213" indent="-171450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8836152" y="3431671"/>
            <a:ext cx="2441448" cy="609398"/>
          </a:xfrm>
          <a:solidFill>
            <a:schemeClr val="bg2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75" indent="-128588">
              <a:defRPr sz="1050">
                <a:solidFill>
                  <a:srgbClr val="FFFFFF"/>
                </a:solidFill>
              </a:defRPr>
            </a:lvl3pPr>
            <a:lvl4pPr marL="385763" indent="-128588">
              <a:defRPr sz="1050">
                <a:solidFill>
                  <a:srgbClr val="FFFFFF"/>
                </a:solidFill>
              </a:defRPr>
            </a:lvl4pPr>
            <a:lvl5pPr marL="557213" indent="-171450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8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4212305"/>
            <a:ext cx="2441448" cy="1713558"/>
          </a:xfrm>
        </p:spPr>
        <p:txBody>
          <a:bodyPr/>
          <a:lstStyle>
            <a:lvl1pPr marL="0" indent="0">
              <a:buNone/>
              <a:defRPr sz="1050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13"/>
          <p:cNvSpPr>
            <a:spLocks noGrp="1"/>
          </p:cNvSpPr>
          <p:nvPr>
            <p:ph sz="quarter" idx="24"/>
          </p:nvPr>
        </p:nvSpPr>
        <p:spPr>
          <a:xfrm>
            <a:off x="3554984" y="4212305"/>
            <a:ext cx="2441448" cy="1713558"/>
          </a:xfrm>
        </p:spPr>
        <p:txBody>
          <a:bodyPr>
            <a:normAutofit/>
          </a:bodyPr>
          <a:lstStyle>
            <a:lvl1pPr marL="0" indent="0">
              <a:buNone/>
              <a:defRPr sz="1050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Content Placeholder 13"/>
          <p:cNvSpPr>
            <a:spLocks noGrp="1"/>
          </p:cNvSpPr>
          <p:nvPr>
            <p:ph sz="quarter" idx="25"/>
          </p:nvPr>
        </p:nvSpPr>
        <p:spPr>
          <a:xfrm>
            <a:off x="6195568" y="4212305"/>
            <a:ext cx="2441448" cy="1713558"/>
          </a:xfrm>
        </p:spPr>
        <p:txBody>
          <a:bodyPr>
            <a:normAutofit/>
          </a:bodyPr>
          <a:lstStyle>
            <a:lvl1pPr marL="0" indent="0">
              <a:buNone/>
              <a:defRPr sz="1050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Content Placeholder 13"/>
          <p:cNvSpPr>
            <a:spLocks noGrp="1"/>
          </p:cNvSpPr>
          <p:nvPr>
            <p:ph sz="quarter" idx="26"/>
          </p:nvPr>
        </p:nvSpPr>
        <p:spPr>
          <a:xfrm>
            <a:off x="8836152" y="4212305"/>
            <a:ext cx="2441448" cy="1713558"/>
          </a:xfrm>
        </p:spPr>
        <p:txBody>
          <a:bodyPr>
            <a:normAutofit/>
          </a:bodyPr>
          <a:lstStyle>
            <a:lvl1pPr marL="0" indent="0">
              <a:buNone/>
              <a:defRPr sz="1050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08827846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ar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3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2438400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 dirty="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556000" y="1397000"/>
            <a:ext cx="2438400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197600" y="1397000"/>
            <a:ext cx="2438400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8839200" y="1397000"/>
            <a:ext cx="2438400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9"/>
          </p:nvPr>
        </p:nvSpPr>
        <p:spPr>
          <a:xfrm>
            <a:off x="914400" y="3431671"/>
            <a:ext cx="2441448" cy="609398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75" indent="-128588">
              <a:defRPr sz="1050">
                <a:solidFill>
                  <a:srgbClr val="FFFFFF"/>
                </a:solidFill>
              </a:defRPr>
            </a:lvl3pPr>
            <a:lvl4pPr marL="385763" indent="-128588">
              <a:defRPr sz="1050">
                <a:solidFill>
                  <a:srgbClr val="FFFFFF"/>
                </a:solidFill>
              </a:defRPr>
            </a:lvl4pPr>
            <a:lvl5pPr marL="557213" indent="-171450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20"/>
          </p:nvPr>
        </p:nvSpPr>
        <p:spPr>
          <a:xfrm>
            <a:off x="3554984" y="3431671"/>
            <a:ext cx="2441448" cy="609398"/>
          </a:xfrm>
          <a:solidFill>
            <a:schemeClr val="accent3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75" indent="-128588">
              <a:defRPr sz="1050">
                <a:solidFill>
                  <a:srgbClr val="FFFFFF"/>
                </a:solidFill>
              </a:defRPr>
            </a:lvl3pPr>
            <a:lvl4pPr marL="385763" indent="-128588">
              <a:defRPr sz="1050">
                <a:solidFill>
                  <a:srgbClr val="FFFFFF"/>
                </a:solidFill>
              </a:defRPr>
            </a:lvl4pPr>
            <a:lvl5pPr marL="557213" indent="-171450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6195568" y="3431671"/>
            <a:ext cx="2441448" cy="609398"/>
          </a:xfrm>
          <a:solidFill>
            <a:schemeClr val="accent5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75" indent="-128588">
              <a:defRPr sz="1050">
                <a:solidFill>
                  <a:srgbClr val="FFFFFF"/>
                </a:solidFill>
              </a:defRPr>
            </a:lvl3pPr>
            <a:lvl4pPr marL="385763" indent="-128588">
              <a:defRPr sz="1050">
                <a:solidFill>
                  <a:srgbClr val="FFFFFF"/>
                </a:solidFill>
              </a:defRPr>
            </a:lvl4pPr>
            <a:lvl5pPr marL="557213" indent="-171450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8836152" y="3431671"/>
            <a:ext cx="2441448" cy="609398"/>
          </a:xfrm>
          <a:solidFill>
            <a:schemeClr val="bg2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75" indent="-128588">
              <a:defRPr sz="1050">
                <a:solidFill>
                  <a:srgbClr val="FFFFFF"/>
                </a:solidFill>
              </a:defRPr>
            </a:lvl3pPr>
            <a:lvl4pPr marL="385763" indent="-128588">
              <a:defRPr sz="1050">
                <a:solidFill>
                  <a:srgbClr val="FFFFFF"/>
                </a:solidFill>
              </a:defRPr>
            </a:lvl4pPr>
            <a:lvl5pPr marL="557213" indent="-171450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8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4212305"/>
            <a:ext cx="2441448" cy="1713558"/>
          </a:xfrm>
        </p:spPr>
        <p:txBody>
          <a:bodyPr/>
          <a:lstStyle>
            <a:lvl1pPr marL="0" indent="0">
              <a:buNone/>
              <a:defRPr sz="1050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13"/>
          <p:cNvSpPr>
            <a:spLocks noGrp="1"/>
          </p:cNvSpPr>
          <p:nvPr>
            <p:ph sz="quarter" idx="24"/>
          </p:nvPr>
        </p:nvSpPr>
        <p:spPr>
          <a:xfrm>
            <a:off x="3554984" y="4212305"/>
            <a:ext cx="2441448" cy="1713558"/>
          </a:xfrm>
        </p:spPr>
        <p:txBody>
          <a:bodyPr>
            <a:normAutofit/>
          </a:bodyPr>
          <a:lstStyle>
            <a:lvl1pPr marL="0" indent="0">
              <a:buNone/>
              <a:defRPr sz="1050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Content Placeholder 13"/>
          <p:cNvSpPr>
            <a:spLocks noGrp="1"/>
          </p:cNvSpPr>
          <p:nvPr>
            <p:ph sz="quarter" idx="25"/>
          </p:nvPr>
        </p:nvSpPr>
        <p:spPr>
          <a:xfrm>
            <a:off x="6195568" y="4212305"/>
            <a:ext cx="2441448" cy="1713558"/>
          </a:xfrm>
        </p:spPr>
        <p:txBody>
          <a:bodyPr>
            <a:normAutofit/>
          </a:bodyPr>
          <a:lstStyle>
            <a:lvl1pPr marL="0" indent="0">
              <a:buNone/>
              <a:defRPr sz="1050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Content Placeholder 13"/>
          <p:cNvSpPr>
            <a:spLocks noGrp="1"/>
          </p:cNvSpPr>
          <p:nvPr>
            <p:ph sz="quarter" idx="26"/>
          </p:nvPr>
        </p:nvSpPr>
        <p:spPr>
          <a:xfrm>
            <a:off x="8836152" y="4212305"/>
            <a:ext cx="2441448" cy="1713558"/>
          </a:xfrm>
        </p:spPr>
        <p:txBody>
          <a:bodyPr>
            <a:normAutofit/>
          </a:bodyPr>
          <a:lstStyle>
            <a:lvl1pPr marL="0" indent="0">
              <a:buNone/>
              <a:defRPr sz="1050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27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33255607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4CF8F1D-100C-43B8-9B24-C5C16363A24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/>
            </a:lvl1pPr>
          </a:lstStyle>
          <a:p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97501643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Bar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3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3328416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 dirty="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431792" y="1397000"/>
            <a:ext cx="3328416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7949184" y="1397000"/>
            <a:ext cx="3328416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914400" y="3431671"/>
            <a:ext cx="3328416" cy="609398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75" indent="-128588">
              <a:defRPr sz="1050">
                <a:solidFill>
                  <a:srgbClr val="FFFFFF"/>
                </a:solidFill>
              </a:defRPr>
            </a:lvl3pPr>
            <a:lvl4pPr marL="385763" indent="-128588">
              <a:defRPr sz="1050">
                <a:solidFill>
                  <a:srgbClr val="FFFFFF"/>
                </a:solidFill>
              </a:defRPr>
            </a:lvl4pPr>
            <a:lvl5pPr marL="557213" indent="-171450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4431792" y="3431671"/>
            <a:ext cx="3328416" cy="609398"/>
          </a:xfrm>
          <a:solidFill>
            <a:schemeClr val="accent4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75" indent="-128588">
              <a:defRPr sz="1050">
                <a:solidFill>
                  <a:srgbClr val="FFFFFF"/>
                </a:solidFill>
              </a:defRPr>
            </a:lvl3pPr>
            <a:lvl4pPr marL="385763" indent="-128588">
              <a:defRPr sz="1050">
                <a:solidFill>
                  <a:srgbClr val="FFFFFF"/>
                </a:solidFill>
              </a:defRPr>
            </a:lvl4pPr>
            <a:lvl5pPr marL="557213" indent="-171450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7949184" y="3431671"/>
            <a:ext cx="3328416" cy="609398"/>
          </a:xfrm>
          <a:solidFill>
            <a:schemeClr val="bg2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75" indent="-128588">
              <a:defRPr sz="1050">
                <a:solidFill>
                  <a:srgbClr val="FFFFFF"/>
                </a:solidFill>
              </a:defRPr>
            </a:lvl3pPr>
            <a:lvl4pPr marL="385763" indent="-128588">
              <a:defRPr sz="1050">
                <a:solidFill>
                  <a:srgbClr val="FFFFFF"/>
                </a:solidFill>
              </a:defRPr>
            </a:lvl4pPr>
            <a:lvl5pPr marL="557213" indent="-171450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4212305"/>
            <a:ext cx="3328416" cy="1750692"/>
          </a:xfrm>
        </p:spPr>
        <p:txBody>
          <a:bodyPr/>
          <a:lstStyle>
            <a:lvl1pPr marL="0" indent="0">
              <a:buNone/>
              <a:defRPr sz="1575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13"/>
          <p:cNvSpPr>
            <a:spLocks noGrp="1"/>
          </p:cNvSpPr>
          <p:nvPr>
            <p:ph sz="quarter" idx="19"/>
          </p:nvPr>
        </p:nvSpPr>
        <p:spPr>
          <a:xfrm>
            <a:off x="4431792" y="4212305"/>
            <a:ext cx="3328416" cy="1750692"/>
          </a:xfrm>
        </p:spPr>
        <p:txBody>
          <a:bodyPr/>
          <a:lstStyle>
            <a:lvl1pPr marL="0" indent="0">
              <a:buNone/>
              <a:defRPr sz="1575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13"/>
          <p:cNvSpPr>
            <a:spLocks noGrp="1"/>
          </p:cNvSpPr>
          <p:nvPr>
            <p:ph sz="quarter" idx="20"/>
          </p:nvPr>
        </p:nvSpPr>
        <p:spPr>
          <a:xfrm>
            <a:off x="7949184" y="4212305"/>
            <a:ext cx="3328416" cy="1750692"/>
          </a:xfrm>
        </p:spPr>
        <p:txBody>
          <a:bodyPr/>
          <a:lstStyle>
            <a:lvl1pPr marL="0" indent="0">
              <a:buNone/>
              <a:defRPr sz="1575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24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4268501043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Ba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3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3328416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 dirty="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431792" y="1397000"/>
            <a:ext cx="3328416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7949184" y="1397000"/>
            <a:ext cx="3328416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914400" y="3431671"/>
            <a:ext cx="3328416" cy="609398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75" indent="-128588">
              <a:defRPr sz="1050">
                <a:solidFill>
                  <a:srgbClr val="FFFFFF"/>
                </a:solidFill>
              </a:defRPr>
            </a:lvl3pPr>
            <a:lvl4pPr marL="385763" indent="-128588">
              <a:defRPr sz="1050">
                <a:solidFill>
                  <a:srgbClr val="FFFFFF"/>
                </a:solidFill>
              </a:defRPr>
            </a:lvl4pPr>
            <a:lvl5pPr marL="557213" indent="-171450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4431792" y="3431671"/>
            <a:ext cx="3328416" cy="609398"/>
          </a:xfrm>
          <a:solidFill>
            <a:schemeClr val="accent4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75" indent="-128588">
              <a:defRPr sz="1050">
                <a:solidFill>
                  <a:srgbClr val="FFFFFF"/>
                </a:solidFill>
              </a:defRPr>
            </a:lvl3pPr>
            <a:lvl4pPr marL="385763" indent="-128588">
              <a:defRPr sz="1050">
                <a:solidFill>
                  <a:srgbClr val="FFFFFF"/>
                </a:solidFill>
              </a:defRPr>
            </a:lvl4pPr>
            <a:lvl5pPr marL="557213" indent="-171450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7949184" y="3431671"/>
            <a:ext cx="3328416" cy="609398"/>
          </a:xfrm>
          <a:solidFill>
            <a:schemeClr val="bg2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75" indent="-128588">
              <a:defRPr sz="1050">
                <a:solidFill>
                  <a:srgbClr val="FFFFFF"/>
                </a:solidFill>
              </a:defRPr>
            </a:lvl3pPr>
            <a:lvl4pPr marL="385763" indent="-128588">
              <a:defRPr sz="1050">
                <a:solidFill>
                  <a:srgbClr val="FFFFFF"/>
                </a:solidFill>
              </a:defRPr>
            </a:lvl4pPr>
            <a:lvl5pPr marL="557213" indent="-171450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4212305"/>
            <a:ext cx="3328416" cy="1750692"/>
          </a:xfrm>
        </p:spPr>
        <p:txBody>
          <a:bodyPr/>
          <a:lstStyle>
            <a:lvl1pPr marL="0" indent="0">
              <a:buNone/>
              <a:defRPr sz="1575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13"/>
          <p:cNvSpPr>
            <a:spLocks noGrp="1"/>
          </p:cNvSpPr>
          <p:nvPr>
            <p:ph sz="quarter" idx="19"/>
          </p:nvPr>
        </p:nvSpPr>
        <p:spPr>
          <a:xfrm>
            <a:off x="4431792" y="4212305"/>
            <a:ext cx="3328416" cy="1750692"/>
          </a:xfrm>
        </p:spPr>
        <p:txBody>
          <a:bodyPr/>
          <a:lstStyle>
            <a:lvl1pPr marL="0" indent="0">
              <a:buNone/>
              <a:defRPr sz="1575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13"/>
          <p:cNvSpPr>
            <a:spLocks noGrp="1"/>
          </p:cNvSpPr>
          <p:nvPr>
            <p:ph sz="quarter" idx="20"/>
          </p:nvPr>
        </p:nvSpPr>
        <p:spPr>
          <a:xfrm>
            <a:off x="7949184" y="4212305"/>
            <a:ext cx="3328416" cy="1750692"/>
          </a:xfrm>
        </p:spPr>
        <p:txBody>
          <a:bodyPr/>
          <a:lstStyle>
            <a:lvl1pPr marL="0" indent="0">
              <a:buNone/>
              <a:defRPr sz="1575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99030736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Ba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3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5085589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192012" y="1397000"/>
            <a:ext cx="5085589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914400" y="3431671"/>
            <a:ext cx="5084064" cy="609398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75" indent="-128588">
              <a:defRPr sz="1050">
                <a:solidFill>
                  <a:srgbClr val="FFFFFF"/>
                </a:solidFill>
              </a:defRPr>
            </a:lvl3pPr>
            <a:lvl4pPr marL="385763" indent="-128588">
              <a:defRPr sz="1050">
                <a:solidFill>
                  <a:srgbClr val="FFFFFF"/>
                </a:solidFill>
              </a:defRPr>
            </a:lvl4pPr>
            <a:lvl5pPr marL="557213" indent="-171450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6193536" y="3431671"/>
            <a:ext cx="5084064" cy="609398"/>
          </a:xfrm>
          <a:solidFill>
            <a:schemeClr val="accent4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75" indent="-128588">
              <a:defRPr sz="1050">
                <a:solidFill>
                  <a:srgbClr val="FFFFFF"/>
                </a:solidFill>
              </a:defRPr>
            </a:lvl3pPr>
            <a:lvl4pPr marL="385763" indent="-128588">
              <a:defRPr sz="1050">
                <a:solidFill>
                  <a:srgbClr val="FFFFFF"/>
                </a:solidFill>
              </a:defRPr>
            </a:lvl4pPr>
            <a:lvl5pPr marL="557213" indent="-171450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4212305"/>
            <a:ext cx="5084064" cy="1703066"/>
          </a:xfrm>
        </p:spPr>
        <p:txBody>
          <a:bodyPr/>
          <a:lstStyle>
            <a:lvl1pPr marL="0" indent="0">
              <a:buNone/>
              <a:defRPr sz="1575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13"/>
          <p:cNvSpPr>
            <a:spLocks noGrp="1"/>
          </p:cNvSpPr>
          <p:nvPr>
            <p:ph sz="quarter" idx="19"/>
          </p:nvPr>
        </p:nvSpPr>
        <p:spPr>
          <a:xfrm>
            <a:off x="6193536" y="4212305"/>
            <a:ext cx="5084064" cy="1703066"/>
          </a:xfrm>
        </p:spPr>
        <p:txBody>
          <a:bodyPr/>
          <a:lstStyle>
            <a:lvl1pPr marL="0" indent="0">
              <a:buNone/>
              <a:defRPr sz="1575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77024420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Bar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3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5085589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192012" y="1397000"/>
            <a:ext cx="5085589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914400" y="3431671"/>
            <a:ext cx="5084064" cy="609398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75" indent="-128588">
              <a:defRPr sz="1050">
                <a:solidFill>
                  <a:srgbClr val="FFFFFF"/>
                </a:solidFill>
              </a:defRPr>
            </a:lvl3pPr>
            <a:lvl4pPr marL="385763" indent="-128588">
              <a:defRPr sz="1050">
                <a:solidFill>
                  <a:srgbClr val="FFFFFF"/>
                </a:solidFill>
              </a:defRPr>
            </a:lvl4pPr>
            <a:lvl5pPr marL="557213" indent="-171450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6193536" y="3431671"/>
            <a:ext cx="5084064" cy="609398"/>
          </a:xfrm>
          <a:solidFill>
            <a:schemeClr val="accent4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75" indent="-128588">
              <a:defRPr sz="1050">
                <a:solidFill>
                  <a:srgbClr val="FFFFFF"/>
                </a:solidFill>
              </a:defRPr>
            </a:lvl3pPr>
            <a:lvl4pPr marL="385763" indent="-128588">
              <a:defRPr sz="1050">
                <a:solidFill>
                  <a:srgbClr val="FFFFFF"/>
                </a:solidFill>
              </a:defRPr>
            </a:lvl4pPr>
            <a:lvl5pPr marL="557213" indent="-171450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4212305"/>
            <a:ext cx="5084064" cy="1703066"/>
          </a:xfrm>
        </p:spPr>
        <p:txBody>
          <a:bodyPr/>
          <a:lstStyle>
            <a:lvl1pPr marL="0" indent="0">
              <a:buNone/>
              <a:defRPr sz="1575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13"/>
          <p:cNvSpPr>
            <a:spLocks noGrp="1"/>
          </p:cNvSpPr>
          <p:nvPr>
            <p:ph sz="quarter" idx="19"/>
          </p:nvPr>
        </p:nvSpPr>
        <p:spPr>
          <a:xfrm>
            <a:off x="6193536" y="4212305"/>
            <a:ext cx="5084064" cy="1703066"/>
          </a:xfrm>
        </p:spPr>
        <p:txBody>
          <a:bodyPr/>
          <a:lstStyle>
            <a:lvl1pPr marL="0" indent="0">
              <a:buNone/>
              <a:defRPr sz="1575"/>
            </a:lvl1pPr>
            <a:lvl2pPr marL="128588" indent="-128588">
              <a:buFont typeface="Arial" panose="020B0604020202020204" pitchFamily="34" charset="0"/>
              <a:buChar char="•"/>
              <a:defRPr sz="1050"/>
            </a:lvl2pPr>
            <a:lvl3pPr marL="257175" indent="-128588">
              <a:defRPr sz="1050"/>
            </a:lvl3pPr>
            <a:lvl4pPr marL="385763" indent="-128588"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23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205343836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3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575387" y="1639790"/>
            <a:ext cx="9144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1637917" y="1639789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3483711" y="1639790"/>
            <a:ext cx="9144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4546239" y="1639789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6392033" y="1639790"/>
            <a:ext cx="9144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7454563" y="1639789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9300356" y="1639790"/>
            <a:ext cx="9144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bg2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2" name="Content Placeholder 13"/>
          <p:cNvSpPr>
            <a:spLocks noGrp="1"/>
          </p:cNvSpPr>
          <p:nvPr>
            <p:ph sz="quarter" idx="24" hasCustomPrompt="1"/>
          </p:nvPr>
        </p:nvSpPr>
        <p:spPr>
          <a:xfrm>
            <a:off x="10362886" y="1639789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387" y="3153548"/>
            <a:ext cx="9144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4" name="Content Placeholder 13"/>
          <p:cNvSpPr>
            <a:spLocks noGrp="1"/>
          </p:cNvSpPr>
          <p:nvPr>
            <p:ph sz="quarter" idx="26" hasCustomPrompt="1"/>
          </p:nvPr>
        </p:nvSpPr>
        <p:spPr>
          <a:xfrm>
            <a:off x="1637917" y="3153547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3483711" y="3153548"/>
            <a:ext cx="9144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6" name="Content Placeholder 13"/>
          <p:cNvSpPr>
            <a:spLocks noGrp="1"/>
          </p:cNvSpPr>
          <p:nvPr>
            <p:ph sz="quarter" idx="28" hasCustomPrompt="1"/>
          </p:nvPr>
        </p:nvSpPr>
        <p:spPr>
          <a:xfrm>
            <a:off x="4546239" y="3153547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6392033" y="3153548"/>
            <a:ext cx="9144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8" name="Content Placeholder 13"/>
          <p:cNvSpPr>
            <a:spLocks noGrp="1"/>
          </p:cNvSpPr>
          <p:nvPr>
            <p:ph sz="quarter" idx="30" hasCustomPrompt="1"/>
          </p:nvPr>
        </p:nvSpPr>
        <p:spPr>
          <a:xfrm>
            <a:off x="7454563" y="3153547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9" name="Picture Placeholder 3"/>
          <p:cNvSpPr>
            <a:spLocks noGrp="1"/>
          </p:cNvSpPr>
          <p:nvPr>
            <p:ph type="pic" sz="quarter" idx="31"/>
          </p:nvPr>
        </p:nvSpPr>
        <p:spPr>
          <a:xfrm>
            <a:off x="9300356" y="3153548"/>
            <a:ext cx="9144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bg2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0" name="Content Placeholder 13"/>
          <p:cNvSpPr>
            <a:spLocks noGrp="1"/>
          </p:cNvSpPr>
          <p:nvPr>
            <p:ph sz="quarter" idx="32" hasCustomPrompt="1"/>
          </p:nvPr>
        </p:nvSpPr>
        <p:spPr>
          <a:xfrm>
            <a:off x="10362886" y="3153547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1" name="Picture Placeholder 3"/>
          <p:cNvSpPr>
            <a:spLocks noGrp="1"/>
          </p:cNvSpPr>
          <p:nvPr>
            <p:ph type="pic" sz="quarter" idx="33"/>
          </p:nvPr>
        </p:nvSpPr>
        <p:spPr>
          <a:xfrm>
            <a:off x="575387" y="4667305"/>
            <a:ext cx="9144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2" name="Content Placeholder 13"/>
          <p:cNvSpPr>
            <a:spLocks noGrp="1"/>
          </p:cNvSpPr>
          <p:nvPr>
            <p:ph sz="quarter" idx="34" hasCustomPrompt="1"/>
          </p:nvPr>
        </p:nvSpPr>
        <p:spPr>
          <a:xfrm>
            <a:off x="1637917" y="4667304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3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3483711" y="4667305"/>
            <a:ext cx="9144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4" name="Content Placeholder 13"/>
          <p:cNvSpPr>
            <a:spLocks noGrp="1"/>
          </p:cNvSpPr>
          <p:nvPr>
            <p:ph sz="quarter" idx="36" hasCustomPrompt="1"/>
          </p:nvPr>
        </p:nvSpPr>
        <p:spPr>
          <a:xfrm>
            <a:off x="4546239" y="4667304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5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6392033" y="4667305"/>
            <a:ext cx="9144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6" name="Content Placeholder 13"/>
          <p:cNvSpPr>
            <a:spLocks noGrp="1"/>
          </p:cNvSpPr>
          <p:nvPr>
            <p:ph sz="quarter" idx="38" hasCustomPrompt="1"/>
          </p:nvPr>
        </p:nvSpPr>
        <p:spPr>
          <a:xfrm>
            <a:off x="7454563" y="4667304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7" name="Picture Placeholder 3"/>
          <p:cNvSpPr>
            <a:spLocks noGrp="1"/>
          </p:cNvSpPr>
          <p:nvPr>
            <p:ph type="pic" sz="quarter" idx="39"/>
          </p:nvPr>
        </p:nvSpPr>
        <p:spPr>
          <a:xfrm>
            <a:off x="9300356" y="4667305"/>
            <a:ext cx="9144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bg2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8" name="Content Placeholder 13"/>
          <p:cNvSpPr>
            <a:spLocks noGrp="1"/>
          </p:cNvSpPr>
          <p:nvPr>
            <p:ph sz="quarter" idx="40" hasCustomPrompt="1"/>
          </p:nvPr>
        </p:nvSpPr>
        <p:spPr>
          <a:xfrm>
            <a:off x="10362886" y="4667304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37826903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team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3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575387" y="1639790"/>
            <a:ext cx="9144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1637917" y="1639789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3483711" y="1639790"/>
            <a:ext cx="9144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4546239" y="1639789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6392033" y="1639790"/>
            <a:ext cx="9144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7454563" y="1639789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9300356" y="1639790"/>
            <a:ext cx="9144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bg2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2" name="Content Placeholder 13"/>
          <p:cNvSpPr>
            <a:spLocks noGrp="1"/>
          </p:cNvSpPr>
          <p:nvPr>
            <p:ph sz="quarter" idx="24" hasCustomPrompt="1"/>
          </p:nvPr>
        </p:nvSpPr>
        <p:spPr>
          <a:xfrm>
            <a:off x="10362886" y="1639789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387" y="3153548"/>
            <a:ext cx="9144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4" name="Content Placeholder 13"/>
          <p:cNvSpPr>
            <a:spLocks noGrp="1"/>
          </p:cNvSpPr>
          <p:nvPr>
            <p:ph sz="quarter" idx="26" hasCustomPrompt="1"/>
          </p:nvPr>
        </p:nvSpPr>
        <p:spPr>
          <a:xfrm>
            <a:off x="1637917" y="3153547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3483711" y="3153548"/>
            <a:ext cx="9144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6" name="Content Placeholder 13"/>
          <p:cNvSpPr>
            <a:spLocks noGrp="1"/>
          </p:cNvSpPr>
          <p:nvPr>
            <p:ph sz="quarter" idx="28" hasCustomPrompt="1"/>
          </p:nvPr>
        </p:nvSpPr>
        <p:spPr>
          <a:xfrm>
            <a:off x="4546239" y="3153547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6392033" y="3153548"/>
            <a:ext cx="9144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8" name="Content Placeholder 13"/>
          <p:cNvSpPr>
            <a:spLocks noGrp="1"/>
          </p:cNvSpPr>
          <p:nvPr>
            <p:ph sz="quarter" idx="30" hasCustomPrompt="1"/>
          </p:nvPr>
        </p:nvSpPr>
        <p:spPr>
          <a:xfrm>
            <a:off x="7454563" y="3153547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9" name="Picture Placeholder 3"/>
          <p:cNvSpPr>
            <a:spLocks noGrp="1"/>
          </p:cNvSpPr>
          <p:nvPr>
            <p:ph type="pic" sz="quarter" idx="31"/>
          </p:nvPr>
        </p:nvSpPr>
        <p:spPr>
          <a:xfrm>
            <a:off x="9300356" y="3153548"/>
            <a:ext cx="9144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bg2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0" name="Content Placeholder 13"/>
          <p:cNvSpPr>
            <a:spLocks noGrp="1"/>
          </p:cNvSpPr>
          <p:nvPr>
            <p:ph sz="quarter" idx="32" hasCustomPrompt="1"/>
          </p:nvPr>
        </p:nvSpPr>
        <p:spPr>
          <a:xfrm>
            <a:off x="10362886" y="3153547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1" name="Picture Placeholder 3"/>
          <p:cNvSpPr>
            <a:spLocks noGrp="1"/>
          </p:cNvSpPr>
          <p:nvPr>
            <p:ph type="pic" sz="quarter" idx="33"/>
          </p:nvPr>
        </p:nvSpPr>
        <p:spPr>
          <a:xfrm>
            <a:off x="575387" y="4667305"/>
            <a:ext cx="9144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2" name="Content Placeholder 13"/>
          <p:cNvSpPr>
            <a:spLocks noGrp="1"/>
          </p:cNvSpPr>
          <p:nvPr>
            <p:ph sz="quarter" idx="34" hasCustomPrompt="1"/>
          </p:nvPr>
        </p:nvSpPr>
        <p:spPr>
          <a:xfrm>
            <a:off x="1637917" y="4667304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3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3483711" y="4667305"/>
            <a:ext cx="9144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4" name="Content Placeholder 13"/>
          <p:cNvSpPr>
            <a:spLocks noGrp="1"/>
          </p:cNvSpPr>
          <p:nvPr>
            <p:ph sz="quarter" idx="36" hasCustomPrompt="1"/>
          </p:nvPr>
        </p:nvSpPr>
        <p:spPr>
          <a:xfrm>
            <a:off x="4546239" y="4667304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5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6392033" y="4667305"/>
            <a:ext cx="9144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6" name="Content Placeholder 13"/>
          <p:cNvSpPr>
            <a:spLocks noGrp="1"/>
          </p:cNvSpPr>
          <p:nvPr>
            <p:ph sz="quarter" idx="38" hasCustomPrompt="1"/>
          </p:nvPr>
        </p:nvSpPr>
        <p:spPr>
          <a:xfrm>
            <a:off x="7454563" y="4667304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7" name="Picture Placeholder 3"/>
          <p:cNvSpPr>
            <a:spLocks noGrp="1"/>
          </p:cNvSpPr>
          <p:nvPr>
            <p:ph type="pic" sz="quarter" idx="39"/>
          </p:nvPr>
        </p:nvSpPr>
        <p:spPr>
          <a:xfrm>
            <a:off x="9300356" y="4667305"/>
            <a:ext cx="9144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bg2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8" name="Content Placeholder 13"/>
          <p:cNvSpPr>
            <a:spLocks noGrp="1"/>
          </p:cNvSpPr>
          <p:nvPr>
            <p:ph sz="quarter" idx="40" hasCustomPrompt="1"/>
          </p:nvPr>
        </p:nvSpPr>
        <p:spPr>
          <a:xfrm>
            <a:off x="10362886" y="4667304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9" name="Text Placeholder 4"/>
          <p:cNvSpPr>
            <a:spLocks noGrp="1"/>
          </p:cNvSpPr>
          <p:nvPr>
            <p:ph type="body" sz="quarter" idx="41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650837489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 Team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3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575387" y="1639790"/>
            <a:ext cx="9144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1637916" y="1639789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4360325" y="1639790"/>
            <a:ext cx="9144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5426633" y="1639789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8145263" y="1639789"/>
            <a:ext cx="9144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9215349" y="1639789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387" y="3153548"/>
            <a:ext cx="9144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4" name="Content Placeholder 13"/>
          <p:cNvSpPr>
            <a:spLocks noGrp="1"/>
          </p:cNvSpPr>
          <p:nvPr>
            <p:ph sz="quarter" idx="26" hasCustomPrompt="1"/>
          </p:nvPr>
        </p:nvSpPr>
        <p:spPr>
          <a:xfrm>
            <a:off x="1637916" y="3153547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360325" y="3153548"/>
            <a:ext cx="9144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6" name="Content Placeholder 13"/>
          <p:cNvSpPr>
            <a:spLocks noGrp="1"/>
          </p:cNvSpPr>
          <p:nvPr>
            <p:ph sz="quarter" idx="28" hasCustomPrompt="1"/>
          </p:nvPr>
        </p:nvSpPr>
        <p:spPr>
          <a:xfrm>
            <a:off x="5426633" y="3153547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8145263" y="3153547"/>
            <a:ext cx="9144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8" name="Content Placeholder 13"/>
          <p:cNvSpPr>
            <a:spLocks noGrp="1"/>
          </p:cNvSpPr>
          <p:nvPr>
            <p:ph sz="quarter" idx="30" hasCustomPrompt="1"/>
          </p:nvPr>
        </p:nvSpPr>
        <p:spPr>
          <a:xfrm>
            <a:off x="9215349" y="3153547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1" name="Picture Placeholder 3"/>
          <p:cNvSpPr>
            <a:spLocks noGrp="1"/>
          </p:cNvSpPr>
          <p:nvPr>
            <p:ph type="pic" sz="quarter" idx="33"/>
          </p:nvPr>
        </p:nvSpPr>
        <p:spPr>
          <a:xfrm>
            <a:off x="575387" y="4667305"/>
            <a:ext cx="9144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2" name="Content Placeholder 13"/>
          <p:cNvSpPr>
            <a:spLocks noGrp="1"/>
          </p:cNvSpPr>
          <p:nvPr>
            <p:ph sz="quarter" idx="34" hasCustomPrompt="1"/>
          </p:nvPr>
        </p:nvSpPr>
        <p:spPr>
          <a:xfrm>
            <a:off x="1637916" y="4667304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3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4360325" y="4667305"/>
            <a:ext cx="9144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4" name="Content Placeholder 13"/>
          <p:cNvSpPr>
            <a:spLocks noGrp="1"/>
          </p:cNvSpPr>
          <p:nvPr>
            <p:ph sz="quarter" idx="36" hasCustomPrompt="1"/>
          </p:nvPr>
        </p:nvSpPr>
        <p:spPr>
          <a:xfrm>
            <a:off x="5426633" y="4667304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5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8145263" y="4667304"/>
            <a:ext cx="9144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6" name="Content Placeholder 13"/>
          <p:cNvSpPr>
            <a:spLocks noGrp="1"/>
          </p:cNvSpPr>
          <p:nvPr>
            <p:ph sz="quarter" idx="38" hasCustomPrompt="1"/>
          </p:nvPr>
        </p:nvSpPr>
        <p:spPr>
          <a:xfrm>
            <a:off x="9215349" y="4667304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9" name="Text Placeholder 4"/>
          <p:cNvSpPr>
            <a:spLocks noGrp="1"/>
          </p:cNvSpPr>
          <p:nvPr>
            <p:ph type="body" sz="quarter" idx="41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2756848693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 Team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3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575387" y="1639790"/>
            <a:ext cx="9144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1637916" y="1639789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4360325" y="1639790"/>
            <a:ext cx="9144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5426633" y="1639789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8145263" y="1639789"/>
            <a:ext cx="9144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9215349" y="1639789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387" y="3153548"/>
            <a:ext cx="9144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4" name="Content Placeholder 13"/>
          <p:cNvSpPr>
            <a:spLocks noGrp="1"/>
          </p:cNvSpPr>
          <p:nvPr>
            <p:ph sz="quarter" idx="26" hasCustomPrompt="1"/>
          </p:nvPr>
        </p:nvSpPr>
        <p:spPr>
          <a:xfrm>
            <a:off x="1637916" y="3153547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360325" y="3153548"/>
            <a:ext cx="9144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6" name="Content Placeholder 13"/>
          <p:cNvSpPr>
            <a:spLocks noGrp="1"/>
          </p:cNvSpPr>
          <p:nvPr>
            <p:ph sz="quarter" idx="28" hasCustomPrompt="1"/>
          </p:nvPr>
        </p:nvSpPr>
        <p:spPr>
          <a:xfrm>
            <a:off x="5426633" y="3153547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8145263" y="3153547"/>
            <a:ext cx="9144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8" name="Content Placeholder 13"/>
          <p:cNvSpPr>
            <a:spLocks noGrp="1"/>
          </p:cNvSpPr>
          <p:nvPr>
            <p:ph sz="quarter" idx="30" hasCustomPrompt="1"/>
          </p:nvPr>
        </p:nvSpPr>
        <p:spPr>
          <a:xfrm>
            <a:off x="9215349" y="3153547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1" name="Picture Placeholder 3"/>
          <p:cNvSpPr>
            <a:spLocks noGrp="1"/>
          </p:cNvSpPr>
          <p:nvPr>
            <p:ph type="pic" sz="quarter" idx="33"/>
          </p:nvPr>
        </p:nvSpPr>
        <p:spPr>
          <a:xfrm>
            <a:off x="575387" y="4667305"/>
            <a:ext cx="9144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2" name="Content Placeholder 13"/>
          <p:cNvSpPr>
            <a:spLocks noGrp="1"/>
          </p:cNvSpPr>
          <p:nvPr>
            <p:ph sz="quarter" idx="34" hasCustomPrompt="1"/>
          </p:nvPr>
        </p:nvSpPr>
        <p:spPr>
          <a:xfrm>
            <a:off x="1637916" y="4667304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3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4360325" y="4667305"/>
            <a:ext cx="9144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4" name="Content Placeholder 13"/>
          <p:cNvSpPr>
            <a:spLocks noGrp="1"/>
          </p:cNvSpPr>
          <p:nvPr>
            <p:ph sz="quarter" idx="36" hasCustomPrompt="1"/>
          </p:nvPr>
        </p:nvSpPr>
        <p:spPr>
          <a:xfrm>
            <a:off x="5426633" y="4667304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5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8145263" y="4667304"/>
            <a:ext cx="9144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6" name="Content Placeholder 13"/>
          <p:cNvSpPr>
            <a:spLocks noGrp="1"/>
          </p:cNvSpPr>
          <p:nvPr>
            <p:ph sz="quarter" idx="38" hasCustomPrompt="1"/>
          </p:nvPr>
        </p:nvSpPr>
        <p:spPr>
          <a:xfrm>
            <a:off x="9215349" y="4667304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723109124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Team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3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575387" y="1639790"/>
            <a:ext cx="9144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1637916" y="1639790"/>
            <a:ext cx="231440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4360325" y="1639790"/>
            <a:ext cx="9144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5426633" y="1639790"/>
            <a:ext cx="231440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8145263" y="1639789"/>
            <a:ext cx="9144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9215349" y="1639790"/>
            <a:ext cx="231440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387" y="3886577"/>
            <a:ext cx="9144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4" name="Content Placeholder 13"/>
          <p:cNvSpPr>
            <a:spLocks noGrp="1"/>
          </p:cNvSpPr>
          <p:nvPr>
            <p:ph sz="quarter" idx="26" hasCustomPrompt="1"/>
          </p:nvPr>
        </p:nvSpPr>
        <p:spPr>
          <a:xfrm>
            <a:off x="1637916" y="3886577"/>
            <a:ext cx="231440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360325" y="3886577"/>
            <a:ext cx="9144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6" name="Content Placeholder 13"/>
          <p:cNvSpPr>
            <a:spLocks noGrp="1"/>
          </p:cNvSpPr>
          <p:nvPr>
            <p:ph sz="quarter" idx="28" hasCustomPrompt="1"/>
          </p:nvPr>
        </p:nvSpPr>
        <p:spPr>
          <a:xfrm>
            <a:off x="5426633" y="3886577"/>
            <a:ext cx="231440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8145263" y="3886576"/>
            <a:ext cx="9144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8" name="Content Placeholder 13"/>
          <p:cNvSpPr>
            <a:spLocks noGrp="1"/>
          </p:cNvSpPr>
          <p:nvPr>
            <p:ph sz="quarter" idx="30" hasCustomPrompt="1"/>
          </p:nvPr>
        </p:nvSpPr>
        <p:spPr>
          <a:xfrm>
            <a:off x="9215349" y="3886577"/>
            <a:ext cx="231440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9" name="Text Placeholder 4"/>
          <p:cNvSpPr>
            <a:spLocks noGrp="1"/>
          </p:cNvSpPr>
          <p:nvPr>
            <p:ph type="body" sz="quarter" idx="41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401307705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Team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3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575387" y="1639790"/>
            <a:ext cx="9144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1637916" y="1639790"/>
            <a:ext cx="231440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4360325" y="1639790"/>
            <a:ext cx="9144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5426633" y="1639790"/>
            <a:ext cx="231440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8145263" y="1639789"/>
            <a:ext cx="9144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9215349" y="1639790"/>
            <a:ext cx="231440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387" y="3886577"/>
            <a:ext cx="9144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4" name="Content Placeholder 13"/>
          <p:cNvSpPr>
            <a:spLocks noGrp="1"/>
          </p:cNvSpPr>
          <p:nvPr>
            <p:ph sz="quarter" idx="26" hasCustomPrompt="1"/>
          </p:nvPr>
        </p:nvSpPr>
        <p:spPr>
          <a:xfrm>
            <a:off x="1637916" y="3886577"/>
            <a:ext cx="231440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360325" y="3886577"/>
            <a:ext cx="9144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6" name="Content Placeholder 13"/>
          <p:cNvSpPr>
            <a:spLocks noGrp="1"/>
          </p:cNvSpPr>
          <p:nvPr>
            <p:ph sz="quarter" idx="28" hasCustomPrompt="1"/>
          </p:nvPr>
        </p:nvSpPr>
        <p:spPr>
          <a:xfrm>
            <a:off x="5426633" y="3886577"/>
            <a:ext cx="231440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8145263" y="3886576"/>
            <a:ext cx="914400" cy="6858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8" name="Content Placeholder 13"/>
          <p:cNvSpPr>
            <a:spLocks noGrp="1"/>
          </p:cNvSpPr>
          <p:nvPr>
            <p:ph sz="quarter" idx="30" hasCustomPrompt="1"/>
          </p:nvPr>
        </p:nvSpPr>
        <p:spPr>
          <a:xfrm>
            <a:off x="9215349" y="3886577"/>
            <a:ext cx="231440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63" indent="-128588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02292091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slideLayout" Target="../slideLayouts/slideLayout33.xml"/><Relationship Id="rId18" Type="http://schemas.openxmlformats.org/officeDocument/2006/relationships/slideLayout" Target="../slideLayouts/slideLayout38.xml"/><Relationship Id="rId26" Type="http://schemas.openxmlformats.org/officeDocument/2006/relationships/slideLayout" Target="../slideLayouts/slideLayout46.xml"/><Relationship Id="rId3" Type="http://schemas.openxmlformats.org/officeDocument/2006/relationships/slideLayout" Target="../slideLayouts/slideLayout23.xml"/><Relationship Id="rId21" Type="http://schemas.openxmlformats.org/officeDocument/2006/relationships/slideLayout" Target="../slideLayouts/slideLayout41.xml"/><Relationship Id="rId7" Type="http://schemas.openxmlformats.org/officeDocument/2006/relationships/slideLayout" Target="../slideLayouts/slideLayout27.xml"/><Relationship Id="rId12" Type="http://schemas.openxmlformats.org/officeDocument/2006/relationships/slideLayout" Target="../slideLayouts/slideLayout32.xml"/><Relationship Id="rId17" Type="http://schemas.openxmlformats.org/officeDocument/2006/relationships/slideLayout" Target="../slideLayouts/slideLayout37.xml"/><Relationship Id="rId25" Type="http://schemas.openxmlformats.org/officeDocument/2006/relationships/slideLayout" Target="../slideLayouts/slideLayout45.xml"/><Relationship Id="rId2" Type="http://schemas.openxmlformats.org/officeDocument/2006/relationships/slideLayout" Target="../slideLayouts/slideLayout22.xml"/><Relationship Id="rId16" Type="http://schemas.openxmlformats.org/officeDocument/2006/relationships/slideLayout" Target="../slideLayouts/slideLayout36.xml"/><Relationship Id="rId20" Type="http://schemas.openxmlformats.org/officeDocument/2006/relationships/slideLayout" Target="../slideLayouts/slideLayout40.xml"/><Relationship Id="rId29" Type="http://schemas.openxmlformats.org/officeDocument/2006/relationships/theme" Target="../theme/theme2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24" Type="http://schemas.openxmlformats.org/officeDocument/2006/relationships/slideLayout" Target="../slideLayouts/slideLayout44.xml"/><Relationship Id="rId5" Type="http://schemas.openxmlformats.org/officeDocument/2006/relationships/slideLayout" Target="../slideLayouts/slideLayout25.xml"/><Relationship Id="rId15" Type="http://schemas.openxmlformats.org/officeDocument/2006/relationships/slideLayout" Target="../slideLayouts/slideLayout35.xml"/><Relationship Id="rId23" Type="http://schemas.openxmlformats.org/officeDocument/2006/relationships/slideLayout" Target="../slideLayouts/slideLayout43.xml"/><Relationship Id="rId28" Type="http://schemas.openxmlformats.org/officeDocument/2006/relationships/slideLayout" Target="../slideLayouts/slideLayout48.xml"/><Relationship Id="rId10" Type="http://schemas.openxmlformats.org/officeDocument/2006/relationships/slideLayout" Target="../slideLayouts/slideLayout30.xml"/><Relationship Id="rId19" Type="http://schemas.openxmlformats.org/officeDocument/2006/relationships/slideLayout" Target="../slideLayouts/slideLayout39.xml"/><Relationship Id="rId31" Type="http://schemas.openxmlformats.org/officeDocument/2006/relationships/image" Target="../media/image2.jpeg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slideLayout" Target="../slideLayouts/slideLayout34.xml"/><Relationship Id="rId22" Type="http://schemas.openxmlformats.org/officeDocument/2006/relationships/slideLayout" Target="../slideLayouts/slideLayout42.xml"/><Relationship Id="rId27" Type="http://schemas.openxmlformats.org/officeDocument/2006/relationships/slideLayout" Target="../slideLayouts/slideLayout47.xml"/><Relationship Id="rId30" Type="http://schemas.openxmlformats.org/officeDocument/2006/relationships/image" Target="../media/image1.jpeg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1.xml"/><Relationship Id="rId18" Type="http://schemas.openxmlformats.org/officeDocument/2006/relationships/slideLayout" Target="../slideLayouts/slideLayout66.xml"/><Relationship Id="rId26" Type="http://schemas.openxmlformats.org/officeDocument/2006/relationships/slideLayout" Target="../slideLayouts/slideLayout74.xml"/><Relationship Id="rId39" Type="http://schemas.openxmlformats.org/officeDocument/2006/relationships/slideLayout" Target="../slideLayouts/slideLayout87.xml"/><Relationship Id="rId21" Type="http://schemas.openxmlformats.org/officeDocument/2006/relationships/slideLayout" Target="../slideLayouts/slideLayout69.xml"/><Relationship Id="rId34" Type="http://schemas.openxmlformats.org/officeDocument/2006/relationships/slideLayout" Target="../slideLayouts/slideLayout82.xml"/><Relationship Id="rId42" Type="http://schemas.openxmlformats.org/officeDocument/2006/relationships/slideLayout" Target="../slideLayouts/slideLayout90.xml"/><Relationship Id="rId47" Type="http://schemas.openxmlformats.org/officeDocument/2006/relationships/slideLayout" Target="../slideLayouts/slideLayout95.xml"/><Relationship Id="rId50" Type="http://schemas.openxmlformats.org/officeDocument/2006/relationships/slideLayout" Target="../slideLayouts/slideLayout98.xml"/><Relationship Id="rId55" Type="http://schemas.openxmlformats.org/officeDocument/2006/relationships/slideLayout" Target="../slideLayouts/slideLayout103.xml"/><Relationship Id="rId7" Type="http://schemas.openxmlformats.org/officeDocument/2006/relationships/slideLayout" Target="../slideLayouts/slideLayout55.xml"/><Relationship Id="rId2" Type="http://schemas.openxmlformats.org/officeDocument/2006/relationships/slideLayout" Target="../slideLayouts/slideLayout50.xml"/><Relationship Id="rId16" Type="http://schemas.openxmlformats.org/officeDocument/2006/relationships/slideLayout" Target="../slideLayouts/slideLayout64.xml"/><Relationship Id="rId29" Type="http://schemas.openxmlformats.org/officeDocument/2006/relationships/slideLayout" Target="../slideLayouts/slideLayout77.xml"/><Relationship Id="rId11" Type="http://schemas.openxmlformats.org/officeDocument/2006/relationships/slideLayout" Target="../slideLayouts/slideLayout59.xml"/><Relationship Id="rId24" Type="http://schemas.openxmlformats.org/officeDocument/2006/relationships/slideLayout" Target="../slideLayouts/slideLayout72.xml"/><Relationship Id="rId32" Type="http://schemas.openxmlformats.org/officeDocument/2006/relationships/slideLayout" Target="../slideLayouts/slideLayout80.xml"/><Relationship Id="rId37" Type="http://schemas.openxmlformats.org/officeDocument/2006/relationships/slideLayout" Target="../slideLayouts/slideLayout85.xml"/><Relationship Id="rId40" Type="http://schemas.openxmlformats.org/officeDocument/2006/relationships/slideLayout" Target="../slideLayouts/slideLayout88.xml"/><Relationship Id="rId45" Type="http://schemas.openxmlformats.org/officeDocument/2006/relationships/slideLayout" Target="../slideLayouts/slideLayout93.xml"/><Relationship Id="rId53" Type="http://schemas.openxmlformats.org/officeDocument/2006/relationships/slideLayout" Target="../slideLayouts/slideLayout101.xml"/><Relationship Id="rId58" Type="http://schemas.openxmlformats.org/officeDocument/2006/relationships/slideLayout" Target="../slideLayouts/slideLayout106.xml"/><Relationship Id="rId5" Type="http://schemas.openxmlformats.org/officeDocument/2006/relationships/slideLayout" Target="../slideLayouts/slideLayout53.xml"/><Relationship Id="rId19" Type="http://schemas.openxmlformats.org/officeDocument/2006/relationships/slideLayout" Target="../slideLayouts/slideLayout67.xml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Relationship Id="rId14" Type="http://schemas.openxmlformats.org/officeDocument/2006/relationships/slideLayout" Target="../slideLayouts/slideLayout62.xml"/><Relationship Id="rId22" Type="http://schemas.openxmlformats.org/officeDocument/2006/relationships/slideLayout" Target="../slideLayouts/slideLayout70.xml"/><Relationship Id="rId27" Type="http://schemas.openxmlformats.org/officeDocument/2006/relationships/slideLayout" Target="../slideLayouts/slideLayout75.xml"/><Relationship Id="rId30" Type="http://schemas.openxmlformats.org/officeDocument/2006/relationships/slideLayout" Target="../slideLayouts/slideLayout78.xml"/><Relationship Id="rId35" Type="http://schemas.openxmlformats.org/officeDocument/2006/relationships/slideLayout" Target="../slideLayouts/slideLayout83.xml"/><Relationship Id="rId43" Type="http://schemas.openxmlformats.org/officeDocument/2006/relationships/slideLayout" Target="../slideLayouts/slideLayout91.xml"/><Relationship Id="rId48" Type="http://schemas.openxmlformats.org/officeDocument/2006/relationships/slideLayout" Target="../slideLayouts/slideLayout96.xml"/><Relationship Id="rId56" Type="http://schemas.openxmlformats.org/officeDocument/2006/relationships/slideLayout" Target="../slideLayouts/slideLayout104.xml"/><Relationship Id="rId8" Type="http://schemas.openxmlformats.org/officeDocument/2006/relationships/slideLayout" Target="../slideLayouts/slideLayout56.xml"/><Relationship Id="rId51" Type="http://schemas.openxmlformats.org/officeDocument/2006/relationships/slideLayout" Target="../slideLayouts/slideLayout99.xml"/><Relationship Id="rId3" Type="http://schemas.openxmlformats.org/officeDocument/2006/relationships/slideLayout" Target="../slideLayouts/slideLayout51.xml"/><Relationship Id="rId12" Type="http://schemas.openxmlformats.org/officeDocument/2006/relationships/slideLayout" Target="../slideLayouts/slideLayout60.xml"/><Relationship Id="rId17" Type="http://schemas.openxmlformats.org/officeDocument/2006/relationships/slideLayout" Target="../slideLayouts/slideLayout65.xml"/><Relationship Id="rId25" Type="http://schemas.openxmlformats.org/officeDocument/2006/relationships/slideLayout" Target="../slideLayouts/slideLayout73.xml"/><Relationship Id="rId33" Type="http://schemas.openxmlformats.org/officeDocument/2006/relationships/slideLayout" Target="../slideLayouts/slideLayout81.xml"/><Relationship Id="rId38" Type="http://schemas.openxmlformats.org/officeDocument/2006/relationships/slideLayout" Target="../slideLayouts/slideLayout86.xml"/><Relationship Id="rId46" Type="http://schemas.openxmlformats.org/officeDocument/2006/relationships/slideLayout" Target="../slideLayouts/slideLayout94.xml"/><Relationship Id="rId59" Type="http://schemas.openxmlformats.org/officeDocument/2006/relationships/theme" Target="../theme/theme3.xml"/><Relationship Id="rId20" Type="http://schemas.openxmlformats.org/officeDocument/2006/relationships/slideLayout" Target="../slideLayouts/slideLayout68.xml"/><Relationship Id="rId41" Type="http://schemas.openxmlformats.org/officeDocument/2006/relationships/slideLayout" Target="../slideLayouts/slideLayout89.xml"/><Relationship Id="rId54" Type="http://schemas.openxmlformats.org/officeDocument/2006/relationships/slideLayout" Target="../slideLayouts/slideLayout102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5" Type="http://schemas.openxmlformats.org/officeDocument/2006/relationships/slideLayout" Target="../slideLayouts/slideLayout63.xml"/><Relationship Id="rId23" Type="http://schemas.openxmlformats.org/officeDocument/2006/relationships/slideLayout" Target="../slideLayouts/slideLayout71.xml"/><Relationship Id="rId28" Type="http://schemas.openxmlformats.org/officeDocument/2006/relationships/slideLayout" Target="../slideLayouts/slideLayout76.xml"/><Relationship Id="rId36" Type="http://schemas.openxmlformats.org/officeDocument/2006/relationships/slideLayout" Target="../slideLayouts/slideLayout84.xml"/><Relationship Id="rId49" Type="http://schemas.openxmlformats.org/officeDocument/2006/relationships/slideLayout" Target="../slideLayouts/slideLayout97.xml"/><Relationship Id="rId57" Type="http://schemas.openxmlformats.org/officeDocument/2006/relationships/slideLayout" Target="../slideLayouts/slideLayout105.xml"/><Relationship Id="rId10" Type="http://schemas.openxmlformats.org/officeDocument/2006/relationships/slideLayout" Target="../slideLayouts/slideLayout58.xml"/><Relationship Id="rId31" Type="http://schemas.openxmlformats.org/officeDocument/2006/relationships/slideLayout" Target="../slideLayouts/slideLayout79.xml"/><Relationship Id="rId44" Type="http://schemas.openxmlformats.org/officeDocument/2006/relationships/slideLayout" Target="../slideLayouts/slideLayout92.xml"/><Relationship Id="rId52" Type="http://schemas.openxmlformats.org/officeDocument/2006/relationships/slideLayout" Target="../slideLayouts/slideLayout10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819759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52" r:id="rId3"/>
    <p:sldLayoutId id="2147483653" r:id="rId4"/>
    <p:sldLayoutId id="2147483654" r:id="rId5"/>
    <p:sldLayoutId id="2147483655" r:id="rId6"/>
    <p:sldLayoutId id="2147483656" r:id="rId7"/>
    <p:sldLayoutId id="2147483657" r:id="rId8"/>
    <p:sldLayoutId id="2147483658" r:id="rId9"/>
    <p:sldLayoutId id="2147483659" r:id="rId10"/>
    <p:sldLayoutId id="2147483660" r:id="rId11"/>
    <p:sldLayoutId id="2147483661" r:id="rId12"/>
    <p:sldLayoutId id="2147483662" r:id="rId13"/>
    <p:sldLayoutId id="2147483663" r:id="rId14"/>
    <p:sldLayoutId id="2147483664" r:id="rId15"/>
    <p:sldLayoutId id="2147483650" r:id="rId16"/>
    <p:sldLayoutId id="2147483665" r:id="rId17"/>
    <p:sldLayoutId id="2147483666" r:id="rId18"/>
    <p:sldLayoutId id="2147483667" r:id="rId19"/>
    <p:sldLayoutId id="2147483668" r:id="rId20"/>
  </p:sldLayoutIdLst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1"/>
            <a:ext cx="12203299" cy="6857999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74597" y="6122251"/>
            <a:ext cx="1328382" cy="564562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01040" y="256192"/>
            <a:ext cx="10972271" cy="101346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01040" y="1455420"/>
            <a:ext cx="10972271" cy="4549140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693170" y="6476473"/>
            <a:ext cx="961947" cy="2286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7182">
              <a:lnSpc>
                <a:spcPct val="90000"/>
              </a:lnSpc>
            </a:pPr>
            <a:fld id="{9484F7A5-6A8F-8446-A111-2677E1911D97}" type="slidenum">
              <a:rPr lang="en-US" sz="1000" b="0" spc="-70" smtClean="0">
                <a:solidFill>
                  <a:schemeClr val="accent4">
                    <a:lumMod val="50000"/>
                  </a:schemeClr>
                </a:solidFill>
              </a:rPr>
              <a:pPr defTabSz="457182">
                <a:lnSpc>
                  <a:spcPct val="90000"/>
                </a:lnSpc>
              </a:pPr>
              <a:t>‹#›</a:t>
            </a:fld>
            <a:endParaRPr lang="en-US" sz="1000" b="0" spc="-70">
              <a:solidFill>
                <a:schemeClr val="accent4">
                  <a:lumMod val="50000"/>
                </a:schemeClr>
              </a:solidFill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1205867" y="6476473"/>
            <a:ext cx="3209418" cy="228600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pPr>
              <a:spcBef>
                <a:spcPts val="0"/>
              </a:spcBef>
              <a:buFont typeface="Arial"/>
              <a:buNone/>
              <a:defRPr/>
            </a:pPr>
            <a:r>
              <a:rPr lang="en-US" sz="900">
                <a:solidFill>
                  <a:schemeClr val="accent4">
                    <a:lumMod val="50000"/>
                  </a:schemeClr>
                </a:solidFill>
                <a:latin typeface="+mn-lt"/>
                <a:ea typeface="ヒラギノ角ゴ Pro W3" charset="-128"/>
                <a:cs typeface="ヒラギノ角ゴ Pro W3" charset="-128"/>
              </a:rPr>
              <a:t>©</a:t>
            </a:r>
            <a:r>
              <a:rPr lang="en-US" sz="900" baseline="0">
                <a:solidFill>
                  <a:schemeClr val="accent4">
                    <a:lumMod val="50000"/>
                  </a:schemeClr>
                </a:solidFill>
                <a:latin typeface="+mn-lt"/>
                <a:ea typeface="ヒラギノ角ゴ Pro W3" charset="-128"/>
                <a:cs typeface="ヒラギノ角ゴ Pro W3" charset="-128"/>
              </a:rPr>
              <a:t> Hortonworks </a:t>
            </a:r>
            <a:r>
              <a:rPr lang="en-US" sz="900">
                <a:solidFill>
                  <a:schemeClr val="accent4">
                    <a:lumMod val="50000"/>
                  </a:schemeClr>
                </a:solidFill>
                <a:latin typeface="+mn-lt"/>
                <a:ea typeface="ヒラギノ角ゴ Pro W3" charset="-128"/>
                <a:cs typeface="ヒラギノ角ゴ Pro W3" charset="-128"/>
              </a:rPr>
              <a:t>Inc. 2011 – 2016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24304834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  <p:sldLayoutId id="2147483675" r:id="rId4"/>
    <p:sldLayoutId id="2147483676" r:id="rId5"/>
    <p:sldLayoutId id="2147483677" r:id="rId6"/>
    <p:sldLayoutId id="2147483678" r:id="rId7"/>
    <p:sldLayoutId id="2147483679" r:id="rId8"/>
    <p:sldLayoutId id="2147483680" r:id="rId9"/>
    <p:sldLayoutId id="2147483681" r:id="rId10"/>
    <p:sldLayoutId id="2147483682" r:id="rId11"/>
    <p:sldLayoutId id="2147483683" r:id="rId12"/>
    <p:sldLayoutId id="2147483684" r:id="rId13"/>
    <p:sldLayoutId id="2147483685" r:id="rId14"/>
    <p:sldLayoutId id="2147483686" r:id="rId15"/>
    <p:sldLayoutId id="2147483687" r:id="rId16"/>
    <p:sldLayoutId id="2147483688" r:id="rId17"/>
    <p:sldLayoutId id="2147483689" r:id="rId18"/>
    <p:sldLayoutId id="2147483690" r:id="rId19"/>
    <p:sldLayoutId id="2147483691" r:id="rId20"/>
    <p:sldLayoutId id="2147483692" r:id="rId21"/>
    <p:sldLayoutId id="2147483693" r:id="rId22"/>
    <p:sldLayoutId id="2147483694" r:id="rId23"/>
    <p:sldLayoutId id="2147483695" r:id="rId24"/>
    <p:sldLayoutId id="2147483696" r:id="rId25"/>
    <p:sldLayoutId id="2147483697" r:id="rId26"/>
    <p:sldLayoutId id="2147483698" r:id="rId27"/>
    <p:sldLayoutId id="2147483699" r:id="rId2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457182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3000" b="1" kern="1200">
          <a:solidFill>
            <a:schemeClr val="tx1"/>
          </a:solidFill>
          <a:latin typeface="+mj-lt"/>
          <a:ea typeface="ヒラギノ角ゴ Pro W3" charset="-128"/>
          <a:cs typeface="ヒラギノ角ゴ Pro W3" charset="-128"/>
        </a:defRPr>
      </a:lvl1pPr>
      <a:lvl2pPr algn="l" defTabSz="457182" rtl="0" eaLnBrk="1" fontAlgn="base" hangingPunct="1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  <a:ea typeface="ヒラギノ角ゴ Pro W3" charset="-128"/>
          <a:cs typeface="ヒラギノ角ゴ Pro W3" charset="-128"/>
        </a:defRPr>
      </a:lvl2pPr>
      <a:lvl3pPr algn="l" defTabSz="457182" rtl="0" eaLnBrk="1" fontAlgn="base" hangingPunct="1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  <a:ea typeface="ヒラギノ角ゴ Pro W3" charset="-128"/>
          <a:cs typeface="ヒラギノ角ゴ Pro W3" charset="-128"/>
        </a:defRPr>
      </a:lvl3pPr>
      <a:lvl4pPr algn="l" defTabSz="457182" rtl="0" eaLnBrk="1" fontAlgn="base" hangingPunct="1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  <a:ea typeface="ヒラギノ角ゴ Pro W3" charset="-128"/>
          <a:cs typeface="ヒラギノ角ゴ Pro W3" charset="-128"/>
        </a:defRPr>
      </a:lvl4pPr>
      <a:lvl5pPr algn="l" defTabSz="457182" rtl="0" eaLnBrk="1" fontAlgn="base" hangingPunct="1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  <a:ea typeface="ヒラギノ角ゴ Pro W3" charset="-128"/>
          <a:cs typeface="ヒラギノ角ゴ Pro W3" charset="-128"/>
        </a:defRPr>
      </a:lvl5pPr>
      <a:lvl6pPr marL="457182" algn="l" defTabSz="457182" rtl="0" eaLnBrk="1" fontAlgn="base" hangingPunct="1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  <a:ea typeface="ヒラギノ角ゴ Pro W3" charset="-128"/>
          <a:cs typeface="ヒラギノ角ゴ Pro W3" charset="-128"/>
        </a:defRPr>
      </a:lvl6pPr>
      <a:lvl7pPr marL="914363" algn="l" defTabSz="457182" rtl="0" eaLnBrk="1" fontAlgn="base" hangingPunct="1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  <a:ea typeface="ヒラギノ角ゴ Pro W3" charset="-128"/>
          <a:cs typeface="ヒラギノ角ゴ Pro W3" charset="-128"/>
        </a:defRPr>
      </a:lvl7pPr>
      <a:lvl8pPr marL="1371545" algn="l" defTabSz="457182" rtl="0" eaLnBrk="1" fontAlgn="base" hangingPunct="1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  <a:ea typeface="ヒラギノ角ゴ Pro W3" charset="-128"/>
          <a:cs typeface="ヒラギノ角ゴ Pro W3" charset="-128"/>
        </a:defRPr>
      </a:lvl8pPr>
      <a:lvl9pPr marL="1828727" algn="l" defTabSz="457182" rtl="0" eaLnBrk="1" fontAlgn="base" hangingPunct="1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  <a:ea typeface="ヒラギノ角ゴ Pro W3" charset="-128"/>
          <a:cs typeface="ヒラギノ角ゴ Pro W3" charset="-128"/>
        </a:defRPr>
      </a:lvl9pPr>
    </p:titleStyle>
    <p:bodyStyle>
      <a:lvl1pPr marL="342886" indent="-342886" algn="l" defTabSz="457182" rtl="0" eaLnBrk="1" fontAlgn="base" hangingPunct="1">
        <a:lnSpc>
          <a:spcPct val="90000"/>
        </a:lnSpc>
        <a:spcBef>
          <a:spcPts val="1000"/>
        </a:spcBef>
        <a:spcAft>
          <a:spcPct val="0"/>
        </a:spcAft>
        <a:buClr>
          <a:schemeClr val="accent1"/>
        </a:buClr>
        <a:buSzPct val="75000"/>
        <a:buFont typeface="Wingdings 2" pitchFamily="18" charset="2"/>
        <a:buChar char="Ã"/>
        <a:defRPr sz="2333" kern="1200">
          <a:solidFill>
            <a:schemeClr val="tx1"/>
          </a:solidFill>
          <a:latin typeface="+mn-lt"/>
          <a:ea typeface="ヒラギノ角ゴ Pro W3" charset="-128"/>
          <a:cs typeface="ヒラギノ角ゴ Pro W3" charset="-128"/>
        </a:defRPr>
      </a:lvl1pPr>
      <a:lvl2pPr marL="742920" indent="-285739" algn="l" defTabSz="457182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ヒラギノ角ゴ Pro W3" charset="-128"/>
          <a:cs typeface="ヒラギノ角ゴ Pro W3" charset="-128"/>
        </a:defRPr>
      </a:lvl2pPr>
      <a:lvl3pPr marL="1142954" indent="-228591" algn="l" defTabSz="457182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333" kern="1200">
          <a:solidFill>
            <a:schemeClr val="tx1"/>
          </a:solidFill>
          <a:latin typeface="+mn-lt"/>
          <a:ea typeface="ヒラギノ角ゴ Pro W3" charset="-128"/>
          <a:cs typeface="ヒラギノ角ゴ Pro W3" charset="-128"/>
        </a:defRPr>
      </a:lvl3pPr>
      <a:lvl4pPr marL="1600136" indent="-228591" algn="l" defTabSz="457182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333" kern="1200">
          <a:solidFill>
            <a:schemeClr val="tx1"/>
          </a:solidFill>
          <a:latin typeface="+mn-lt"/>
          <a:ea typeface="ヒラギノ角ゴ Pro W3" charset="-128"/>
          <a:cs typeface="ヒラギノ角ゴ Pro W3" charset="-128"/>
        </a:defRPr>
      </a:lvl4pPr>
      <a:lvl5pPr marL="2057318" indent="-228591" algn="l" defTabSz="457182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333" kern="1200">
          <a:solidFill>
            <a:schemeClr val="tx1"/>
          </a:solidFill>
          <a:latin typeface="+mn-lt"/>
          <a:ea typeface="ヒラギノ角ゴ Pro W3" charset="-128"/>
          <a:cs typeface="ヒラギノ角ゴ Pro W3" charset="-128"/>
        </a:defRPr>
      </a:lvl5pPr>
      <a:lvl6pPr marL="2514499" indent="-228591" algn="l" defTabSz="457182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81" indent="-228591" algn="l" defTabSz="457182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63" indent="-228591" algn="l" defTabSz="457182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45" indent="-228591" algn="l" defTabSz="457182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2" algn="l" defTabSz="4571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63" algn="l" defTabSz="4571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45" algn="l" defTabSz="4571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27" algn="l" defTabSz="4571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09" algn="l" defTabSz="4571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90" algn="l" defTabSz="4571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72" algn="l" defTabSz="4571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54" algn="l" defTabSz="4571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14400" y="279963"/>
            <a:ext cx="10363200" cy="81756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4400" y="1219202"/>
            <a:ext cx="10363200" cy="462756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205972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  <p:sldLayoutId id="2147483705" r:id="rId5"/>
    <p:sldLayoutId id="2147483706" r:id="rId6"/>
    <p:sldLayoutId id="2147483707" r:id="rId7"/>
    <p:sldLayoutId id="2147483708" r:id="rId8"/>
    <p:sldLayoutId id="2147483709" r:id="rId9"/>
    <p:sldLayoutId id="2147483710" r:id="rId10"/>
    <p:sldLayoutId id="2147483711" r:id="rId11"/>
    <p:sldLayoutId id="2147483712" r:id="rId12"/>
    <p:sldLayoutId id="2147483713" r:id="rId13"/>
    <p:sldLayoutId id="2147483714" r:id="rId14"/>
    <p:sldLayoutId id="2147483715" r:id="rId15"/>
    <p:sldLayoutId id="2147483716" r:id="rId16"/>
    <p:sldLayoutId id="2147483717" r:id="rId17"/>
    <p:sldLayoutId id="2147483718" r:id="rId18"/>
    <p:sldLayoutId id="2147483719" r:id="rId19"/>
    <p:sldLayoutId id="2147483720" r:id="rId20"/>
    <p:sldLayoutId id="2147483721" r:id="rId21"/>
    <p:sldLayoutId id="2147483722" r:id="rId22"/>
    <p:sldLayoutId id="2147483723" r:id="rId23"/>
    <p:sldLayoutId id="2147483724" r:id="rId24"/>
    <p:sldLayoutId id="2147483725" r:id="rId25"/>
    <p:sldLayoutId id="2147483726" r:id="rId26"/>
    <p:sldLayoutId id="2147483727" r:id="rId27"/>
    <p:sldLayoutId id="2147483728" r:id="rId28"/>
    <p:sldLayoutId id="2147483729" r:id="rId29"/>
    <p:sldLayoutId id="2147483730" r:id="rId30"/>
    <p:sldLayoutId id="2147483731" r:id="rId31"/>
    <p:sldLayoutId id="2147483732" r:id="rId32"/>
    <p:sldLayoutId id="2147483733" r:id="rId33"/>
    <p:sldLayoutId id="2147483734" r:id="rId34"/>
    <p:sldLayoutId id="2147483735" r:id="rId35"/>
    <p:sldLayoutId id="2147483736" r:id="rId36"/>
    <p:sldLayoutId id="2147483737" r:id="rId37"/>
    <p:sldLayoutId id="2147483738" r:id="rId38"/>
    <p:sldLayoutId id="2147483739" r:id="rId39"/>
    <p:sldLayoutId id="2147483740" r:id="rId40"/>
    <p:sldLayoutId id="2147483741" r:id="rId41"/>
    <p:sldLayoutId id="2147483742" r:id="rId42"/>
    <p:sldLayoutId id="2147483743" r:id="rId43"/>
    <p:sldLayoutId id="2147483744" r:id="rId44"/>
    <p:sldLayoutId id="2147483745" r:id="rId45"/>
    <p:sldLayoutId id="2147483746" r:id="rId46"/>
    <p:sldLayoutId id="2147483747" r:id="rId47"/>
    <p:sldLayoutId id="2147483748" r:id="rId48"/>
    <p:sldLayoutId id="2147483749" r:id="rId49"/>
    <p:sldLayoutId id="2147483750" r:id="rId50"/>
    <p:sldLayoutId id="2147483751" r:id="rId51"/>
    <p:sldLayoutId id="2147483752" r:id="rId52"/>
    <p:sldLayoutId id="2147483753" r:id="rId53"/>
    <p:sldLayoutId id="2147483754" r:id="rId54"/>
    <p:sldLayoutId id="2147483755" r:id="rId55"/>
    <p:sldLayoutId id="2147483756" r:id="rId56"/>
    <p:sldLayoutId id="2147483757" r:id="rId57"/>
    <p:sldLayoutId id="2147483758" r:id="rId58"/>
  </p:sldLayoutIdLst>
  <p:txStyles>
    <p:titleStyle>
      <a:lvl1pPr algn="ctr" defTabSz="914378" rtl="0" eaLnBrk="1" latinLnBrk="0" hangingPunct="1">
        <a:lnSpc>
          <a:spcPct val="86000"/>
        </a:lnSpc>
        <a:spcBef>
          <a:spcPct val="0"/>
        </a:spcBef>
        <a:buNone/>
        <a:defRPr sz="2100" kern="800" spc="-4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46" indent="-171446" algn="l" defTabSz="914378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1500" kern="800" spc="-10">
          <a:solidFill>
            <a:schemeClr val="tx1"/>
          </a:solidFill>
          <a:latin typeface="+mn-lt"/>
          <a:ea typeface="+mn-ea"/>
          <a:cs typeface="+mn-cs"/>
        </a:defRPr>
      </a:lvl1pPr>
      <a:lvl2pPr marL="344480" indent="-173034" algn="l" defTabSz="914378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–"/>
        <a:defRPr sz="1200" kern="800">
          <a:solidFill>
            <a:schemeClr val="tx1"/>
          </a:solidFill>
          <a:latin typeface="+mn-lt"/>
          <a:ea typeface="+mn-ea"/>
          <a:cs typeface="+mn-cs"/>
        </a:defRPr>
      </a:lvl2pPr>
      <a:lvl3pPr marL="515925" indent="-171446" algn="l" defTabSz="914378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1200" kern="800">
          <a:solidFill>
            <a:schemeClr val="tx1"/>
          </a:solidFill>
          <a:latin typeface="+mn-lt"/>
          <a:ea typeface="+mn-ea"/>
          <a:cs typeface="+mn-cs"/>
        </a:defRPr>
      </a:lvl3pPr>
      <a:lvl4pPr marL="687371" indent="-171446" algn="l" defTabSz="914378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–"/>
        <a:defRPr sz="1200" kern="800">
          <a:solidFill>
            <a:schemeClr val="tx1"/>
          </a:solidFill>
          <a:latin typeface="+mn-lt"/>
          <a:ea typeface="+mn-ea"/>
          <a:cs typeface="+mn-cs"/>
        </a:defRPr>
      </a:lvl4pPr>
      <a:lvl5pPr marL="858817" indent="-171446" algn="l" defTabSz="914378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»"/>
        <a:defRPr sz="1200" kern="8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alpha val="38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Placeholder 3">
            <a:extLst>
              <a:ext uri="{FF2B5EF4-FFF2-40B4-BE49-F238E27FC236}">
                <a16:creationId xmlns:a16="http://schemas.microsoft.com/office/drawing/2014/main" id="{69AE0064-703E-604A-9753-16C89B865CDC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0"/>
            <a:ext cx="12192000" cy="6858000"/>
          </a:xfrm>
        </p:spPr>
      </p:pic>
      <p:sp>
        <p:nvSpPr>
          <p:cNvPr id="50" name="Freeform: Shape 49">
            <a:extLst>
              <a:ext uri="{FF2B5EF4-FFF2-40B4-BE49-F238E27FC236}">
                <a16:creationId xmlns:a16="http://schemas.microsoft.com/office/drawing/2014/main" id="{6DFE4E97-2D47-4421-8B65-C893524EF958}"/>
              </a:ext>
            </a:extLst>
          </p:cNvPr>
          <p:cNvSpPr/>
          <p:nvPr/>
        </p:nvSpPr>
        <p:spPr>
          <a:xfrm>
            <a:off x="0" y="-38793"/>
            <a:ext cx="12192000" cy="6858000"/>
          </a:xfrm>
          <a:custGeom>
            <a:avLst/>
            <a:gdLst>
              <a:gd name="connsiteX0" fmla="*/ 1052447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0124455 w 12192000"/>
              <a:gd name="connsiteY3" fmla="*/ 6858000 h 6858000"/>
              <a:gd name="connsiteX4" fmla="*/ 10192741 w 12192000"/>
              <a:gd name="connsiteY4" fmla="*/ 6764471 h 6858000"/>
              <a:gd name="connsiteX5" fmla="*/ 10311643 w 12192000"/>
              <a:gd name="connsiteY5" fmla="*/ 6584090 h 6858000"/>
              <a:gd name="connsiteX6" fmla="*/ 10348958 w 12192000"/>
              <a:gd name="connsiteY6" fmla="*/ 6522483 h 6858000"/>
              <a:gd name="connsiteX7" fmla="*/ 11639901 w 12192000"/>
              <a:gd name="connsiteY7" fmla="*/ 4514893 h 6858000"/>
              <a:gd name="connsiteX8" fmla="*/ 12186296 w 12192000"/>
              <a:gd name="connsiteY8" fmla="*/ 4459875 h 6858000"/>
              <a:gd name="connsiteX9" fmla="*/ 12191999 w 12192000"/>
              <a:gd name="connsiteY9" fmla="*/ 4460271 h 6858000"/>
              <a:gd name="connsiteX10" fmla="*/ 12191999 w 12192000"/>
              <a:gd name="connsiteY10" fmla="*/ 1419619 h 6858000"/>
              <a:gd name="connsiteX11" fmla="*/ 12179519 w 12192000"/>
              <a:gd name="connsiteY11" fmla="*/ 1413967 h 6858000"/>
              <a:gd name="connsiteX12" fmla="*/ 11247530 w 12192000"/>
              <a:gd name="connsiteY12" fmla="*/ 713236 h 6858000"/>
              <a:gd name="connsiteX13" fmla="*/ 10533088 w 12192000"/>
              <a:gd name="connsiteY13" fmla="*/ 5145 h 6858000"/>
              <a:gd name="connsiteX14" fmla="*/ 0 w 12192000"/>
              <a:gd name="connsiteY14" fmla="*/ 0 h 6858000"/>
              <a:gd name="connsiteX15" fmla="*/ 9506824 w 12192000"/>
              <a:gd name="connsiteY15" fmla="*/ 0 h 6858000"/>
              <a:gd name="connsiteX16" fmla="*/ 9464433 w 12192000"/>
              <a:gd name="connsiteY16" fmla="*/ 27964 h 6858000"/>
              <a:gd name="connsiteX17" fmla="*/ 9238182 w 12192000"/>
              <a:gd name="connsiteY17" fmla="*/ 247215 h 6858000"/>
              <a:gd name="connsiteX18" fmla="*/ 7604267 w 12192000"/>
              <a:gd name="connsiteY18" fmla="*/ 4070032 h 6858000"/>
              <a:gd name="connsiteX19" fmla="*/ 6065266 w 12192000"/>
              <a:gd name="connsiteY19" fmla="*/ 4429028 h 6858000"/>
              <a:gd name="connsiteX20" fmla="*/ 5630926 w 12192000"/>
              <a:gd name="connsiteY20" fmla="*/ 5712834 h 6858000"/>
              <a:gd name="connsiteX21" fmla="*/ 5884961 w 12192000"/>
              <a:gd name="connsiteY21" fmla="*/ 6854714 h 6858000"/>
              <a:gd name="connsiteX22" fmla="*/ 5886585 w 12192000"/>
              <a:gd name="connsiteY22" fmla="*/ 6858000 h 6858000"/>
              <a:gd name="connsiteX23" fmla="*/ 0 w 12192000"/>
              <a:gd name="connsiteY2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12192000" h="6858000">
                <a:moveTo>
                  <a:pt x="1052447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0124455" y="6858000"/>
                </a:lnTo>
                <a:lnTo>
                  <a:pt x="10192741" y="6764471"/>
                </a:lnTo>
                <a:cubicBezTo>
                  <a:pt x="10233548" y="6705656"/>
                  <a:pt x="10273211" y="6645488"/>
                  <a:pt x="10311643" y="6584090"/>
                </a:cubicBezTo>
                <a:cubicBezTo>
                  <a:pt x="10324308" y="6563934"/>
                  <a:pt x="10336716" y="6543400"/>
                  <a:pt x="10348958" y="6522483"/>
                </a:cubicBezTo>
                <a:cubicBezTo>
                  <a:pt x="10743942" y="5847351"/>
                  <a:pt x="10941282" y="4763547"/>
                  <a:pt x="11639901" y="4514893"/>
                </a:cubicBezTo>
                <a:cubicBezTo>
                  <a:pt x="11806820" y="4455487"/>
                  <a:pt x="11993550" y="4450356"/>
                  <a:pt x="12186296" y="4459875"/>
                </a:cubicBezTo>
                <a:lnTo>
                  <a:pt x="12191999" y="4460271"/>
                </a:lnTo>
                <a:lnTo>
                  <a:pt x="12191999" y="1419619"/>
                </a:lnTo>
                <a:lnTo>
                  <a:pt x="12179519" y="1413967"/>
                </a:lnTo>
                <a:cubicBezTo>
                  <a:pt x="11842440" y="1250039"/>
                  <a:pt x="11529091" y="1017633"/>
                  <a:pt x="11247530" y="713236"/>
                </a:cubicBezTo>
                <a:cubicBezTo>
                  <a:pt x="11019164" y="466314"/>
                  <a:pt x="10795476" y="184288"/>
                  <a:pt x="10533088" y="5145"/>
                </a:cubicBezTo>
                <a:close/>
                <a:moveTo>
                  <a:pt x="0" y="0"/>
                </a:moveTo>
                <a:lnTo>
                  <a:pt x="9506824" y="0"/>
                </a:lnTo>
                <a:lnTo>
                  <a:pt x="9464433" y="27964"/>
                </a:lnTo>
                <a:cubicBezTo>
                  <a:pt x="9384064" y="88812"/>
                  <a:pt x="9308042" y="162403"/>
                  <a:pt x="9238182" y="247215"/>
                </a:cubicBezTo>
                <a:cubicBezTo>
                  <a:pt x="8436569" y="1220270"/>
                  <a:pt x="8689704" y="3495047"/>
                  <a:pt x="7604267" y="4070032"/>
                </a:cubicBezTo>
                <a:cubicBezTo>
                  <a:pt x="7113191" y="4330154"/>
                  <a:pt x="6510290" y="4026261"/>
                  <a:pt x="6065266" y="4429028"/>
                </a:cubicBezTo>
                <a:cubicBezTo>
                  <a:pt x="5784045" y="4683574"/>
                  <a:pt x="5625245" y="5196965"/>
                  <a:pt x="5630926" y="5712834"/>
                </a:cubicBezTo>
                <a:cubicBezTo>
                  <a:pt x="5635219" y="6101860"/>
                  <a:pt x="5730554" y="6501089"/>
                  <a:pt x="5884961" y="6854714"/>
                </a:cubicBezTo>
                <a:lnTo>
                  <a:pt x="5886585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1">
              <a:lumMod val="50000"/>
              <a:alpha val="9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 sz="1351"/>
          </a:p>
        </p:txBody>
      </p:sp>
      <p:sp>
        <p:nvSpPr>
          <p:cNvPr id="44" name="Freeform: Shape 43">
            <a:extLst>
              <a:ext uri="{FF2B5EF4-FFF2-40B4-BE49-F238E27FC236}">
                <a16:creationId xmlns:a16="http://schemas.microsoft.com/office/drawing/2014/main" id="{0143C1D8-B4F1-4E31-8BDD-CF0EC340307D}"/>
              </a:ext>
            </a:extLst>
          </p:cNvPr>
          <p:cNvSpPr/>
          <p:nvPr/>
        </p:nvSpPr>
        <p:spPr>
          <a:xfrm rot="20657940">
            <a:off x="-740236" y="-279417"/>
            <a:ext cx="7627139" cy="5607440"/>
          </a:xfrm>
          <a:custGeom>
            <a:avLst/>
            <a:gdLst>
              <a:gd name="connsiteX0" fmla="*/ 3520770 w 7627139"/>
              <a:gd name="connsiteY0" fmla="*/ 0 h 5607440"/>
              <a:gd name="connsiteX1" fmla="*/ 5970348 w 7627139"/>
              <a:gd name="connsiteY1" fmla="*/ 688591 h 5607440"/>
              <a:gd name="connsiteX2" fmla="*/ 6182985 w 7627139"/>
              <a:gd name="connsiteY2" fmla="*/ 800075 h 5607440"/>
              <a:gd name="connsiteX3" fmla="*/ 7261371 w 7627139"/>
              <a:gd name="connsiteY3" fmla="*/ 1504052 h 5607440"/>
              <a:gd name="connsiteX4" fmla="*/ 7441011 w 7627139"/>
              <a:gd name="connsiteY4" fmla="*/ 2958731 h 5607440"/>
              <a:gd name="connsiteX5" fmla="*/ 5080876 w 7627139"/>
              <a:gd name="connsiteY5" fmla="*/ 3162583 h 5607440"/>
              <a:gd name="connsiteX6" fmla="*/ 3426954 w 7627139"/>
              <a:gd name="connsiteY6" fmla="*/ 4596138 h 5607440"/>
              <a:gd name="connsiteX7" fmla="*/ 3378798 w 7627139"/>
              <a:gd name="connsiteY7" fmla="*/ 4640582 h 5607440"/>
              <a:gd name="connsiteX8" fmla="*/ 2014523 w 7627139"/>
              <a:gd name="connsiteY8" fmla="*/ 5423818 h 5607440"/>
              <a:gd name="connsiteX9" fmla="*/ 183643 w 7627139"/>
              <a:gd name="connsiteY9" fmla="*/ 5214009 h 5607440"/>
              <a:gd name="connsiteX10" fmla="*/ 83514 w 7627139"/>
              <a:gd name="connsiteY10" fmla="*/ 5094387 h 5607440"/>
              <a:gd name="connsiteX11" fmla="*/ 0 w 7627139"/>
              <a:gd name="connsiteY11" fmla="*/ 4972309 h 5607440"/>
              <a:gd name="connsiteX12" fmla="*/ 1215368 w 7627139"/>
              <a:gd name="connsiteY12" fmla="*/ 648791 h 5607440"/>
              <a:gd name="connsiteX13" fmla="*/ 1319142 w 7627139"/>
              <a:gd name="connsiteY13" fmla="*/ 720074 h 5607440"/>
              <a:gd name="connsiteX14" fmla="*/ 1723579 w 7627139"/>
              <a:gd name="connsiteY14" fmla="*/ 1019996 h 5607440"/>
              <a:gd name="connsiteX15" fmla="*/ 2498222 w 7627139"/>
              <a:gd name="connsiteY15" fmla="*/ 1391676 h 5607440"/>
              <a:gd name="connsiteX16" fmla="*/ 3302225 w 7627139"/>
              <a:gd name="connsiteY16" fmla="*/ 735409 h 5607440"/>
              <a:gd name="connsiteX17" fmla="*/ 3465084 w 7627139"/>
              <a:gd name="connsiteY17" fmla="*/ 210949 h 56074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7627139" h="5607440">
                <a:moveTo>
                  <a:pt x="3520770" y="0"/>
                </a:moveTo>
                <a:lnTo>
                  <a:pt x="5970348" y="688591"/>
                </a:lnTo>
                <a:lnTo>
                  <a:pt x="6182985" y="800075"/>
                </a:lnTo>
                <a:cubicBezTo>
                  <a:pt x="6573013" y="983211"/>
                  <a:pt x="6975529" y="1168936"/>
                  <a:pt x="7261371" y="1504052"/>
                </a:cubicBezTo>
                <a:cubicBezTo>
                  <a:pt x="7605128" y="1907151"/>
                  <a:pt x="7787634" y="2493470"/>
                  <a:pt x="7441011" y="2958731"/>
                </a:cubicBezTo>
                <a:cubicBezTo>
                  <a:pt x="6860913" y="3737495"/>
                  <a:pt x="5845229" y="3072361"/>
                  <a:pt x="5080876" y="3162583"/>
                </a:cubicBezTo>
                <a:cubicBezTo>
                  <a:pt x="4281124" y="3256973"/>
                  <a:pt x="3939924" y="4108009"/>
                  <a:pt x="3426954" y="4596138"/>
                </a:cubicBezTo>
                <a:cubicBezTo>
                  <a:pt x="3411110" y="4611268"/>
                  <a:pt x="3395046" y="4626036"/>
                  <a:pt x="3378798" y="4640582"/>
                </a:cubicBezTo>
                <a:cubicBezTo>
                  <a:pt x="2983353" y="4992612"/>
                  <a:pt x="2509949" y="5268480"/>
                  <a:pt x="2014523" y="5423818"/>
                </a:cubicBezTo>
                <a:cubicBezTo>
                  <a:pt x="1353957" y="5630936"/>
                  <a:pt x="704221" y="5774867"/>
                  <a:pt x="183643" y="5214009"/>
                </a:cubicBezTo>
                <a:cubicBezTo>
                  <a:pt x="147899" y="5175499"/>
                  <a:pt x="114614" y="5135574"/>
                  <a:pt x="83514" y="5094387"/>
                </a:cubicBezTo>
                <a:lnTo>
                  <a:pt x="0" y="4972309"/>
                </a:lnTo>
                <a:lnTo>
                  <a:pt x="1215368" y="648791"/>
                </a:lnTo>
                <a:lnTo>
                  <a:pt x="1319142" y="720074"/>
                </a:lnTo>
                <a:cubicBezTo>
                  <a:pt x="1455750" y="817595"/>
                  <a:pt x="1590593" y="917589"/>
                  <a:pt x="1723579" y="1019996"/>
                </a:cubicBezTo>
                <a:cubicBezTo>
                  <a:pt x="1955044" y="1198208"/>
                  <a:pt x="2206159" y="1392973"/>
                  <a:pt x="2498222" y="1391676"/>
                </a:cubicBezTo>
                <a:cubicBezTo>
                  <a:pt x="2864846" y="1390064"/>
                  <a:pt x="3158966" y="1072897"/>
                  <a:pt x="3302225" y="735409"/>
                </a:cubicBezTo>
                <a:cubicBezTo>
                  <a:pt x="3373853" y="566665"/>
                  <a:pt x="3419882" y="388980"/>
                  <a:pt x="3465084" y="210949"/>
                </a:cubicBezTo>
                <a:close/>
              </a:path>
            </a:pathLst>
          </a:custGeom>
          <a:solidFill>
            <a:schemeClr val="accent1">
              <a:alpha val="25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ID" sz="1351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2DD53CBA-0B86-4916-944C-4F3EE9EE902F}"/>
              </a:ext>
            </a:extLst>
          </p:cNvPr>
          <p:cNvSpPr txBox="1"/>
          <p:nvPr/>
        </p:nvSpPr>
        <p:spPr>
          <a:xfrm>
            <a:off x="3701934" y="1955233"/>
            <a:ext cx="4788132" cy="646331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defTabSz="457200">
              <a:lnSpc>
                <a:spcPct val="90000"/>
              </a:lnSpc>
              <a:buSzPct val="10000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r>
              <a:rPr lang="en-US" sz="20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wer BI Case Study -1 </a:t>
            </a:r>
          </a:p>
          <a:p>
            <a:pPr defTabSz="457200">
              <a:lnSpc>
                <a:spcPct val="90000"/>
              </a:lnSpc>
              <a:buSzPct val="10000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r>
              <a:rPr lang="en-US" sz="20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4</a:t>
            </a:r>
            <a:r>
              <a:rPr lang="en-US" sz="2000" b="1" baseline="300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</a:t>
            </a:r>
            <a:r>
              <a:rPr lang="en-US" sz="20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September 2024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B45D9E97-6E2D-0D4A-BA54-F384558A9109}"/>
              </a:ext>
            </a:extLst>
          </p:cNvPr>
          <p:cNvSpPr txBox="1"/>
          <p:nvPr/>
        </p:nvSpPr>
        <p:spPr>
          <a:xfrm>
            <a:off x="3701934" y="3586158"/>
            <a:ext cx="354263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000" spc="600">
                <a:solidFill>
                  <a:schemeClr val="bg1"/>
                </a:solidFill>
                <a:cs typeface="Calibri" panose="020F0502020204030204" pitchFamily="34" charset="0"/>
              </a:rPr>
              <a:t>Bourntec Solutions</a:t>
            </a:r>
          </a:p>
        </p:txBody>
      </p:sp>
    </p:spTree>
    <p:extLst>
      <p:ext uri="{BB962C8B-B14F-4D97-AF65-F5344CB8AC3E}">
        <p14:creationId xmlns:p14="http://schemas.microsoft.com/office/powerpoint/2010/main" val="353419004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TextBox 96">
            <a:extLst>
              <a:ext uri="{FF2B5EF4-FFF2-40B4-BE49-F238E27FC236}">
                <a16:creationId xmlns:a16="http://schemas.microsoft.com/office/drawing/2014/main" id="{3CA70410-F149-4B78-ABC4-F609697B60AF}"/>
              </a:ext>
            </a:extLst>
          </p:cNvPr>
          <p:cNvSpPr txBox="1"/>
          <p:nvPr/>
        </p:nvSpPr>
        <p:spPr>
          <a:xfrm>
            <a:off x="745168" y="625145"/>
            <a:ext cx="418465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2400" b="1">
                <a:solidFill>
                  <a:srgbClr val="1E9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ase Study 1 - Scope</a:t>
            </a:r>
            <a:endParaRPr lang="en-US" sz="2400" b="1">
              <a:solidFill>
                <a:srgbClr val="44546A">
                  <a:lumMod val="50000"/>
                </a:srgb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52382608-9B86-0249-A398-8DB84EECD65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56268" y="267114"/>
            <a:ext cx="1317605" cy="329631"/>
          </a:xfrm>
          <a:prstGeom prst="rect">
            <a:avLst/>
          </a:prstGeom>
        </p:spPr>
      </p:pic>
      <p:sp>
        <p:nvSpPr>
          <p:cNvPr id="48" name="Slide Number Placeholder 1">
            <a:extLst>
              <a:ext uri="{FF2B5EF4-FFF2-40B4-BE49-F238E27FC236}">
                <a16:creationId xmlns:a16="http://schemas.microsoft.com/office/drawing/2014/main" id="{B1F8E3BA-096E-45F8-9A58-F0467489ABB9}"/>
              </a:ext>
            </a:extLst>
          </p:cNvPr>
          <p:cNvSpPr txBox="1">
            <a:spLocks/>
          </p:cNvSpPr>
          <p:nvPr/>
        </p:nvSpPr>
        <p:spPr>
          <a:xfrm>
            <a:off x="11571334" y="6260808"/>
            <a:ext cx="464457" cy="365126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10B77E7-8D76-A248-9E9F-68FC055C9F4B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0F0F0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F0F0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57" name="Text Box 727">
            <a:extLst>
              <a:ext uri="{FF2B5EF4-FFF2-40B4-BE49-F238E27FC236}">
                <a16:creationId xmlns:a16="http://schemas.microsoft.com/office/drawing/2014/main" id="{B05C677E-7B5A-4544-88B1-4684AFB02D2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826934" y="1738422"/>
            <a:ext cx="182880" cy="1828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endParaRPr lang="en-US" sz="800">
              <a:latin typeface="Calibri" pitchFamily="34" charset="0"/>
            </a:endParaRPr>
          </a:p>
        </p:txBody>
      </p:sp>
      <p:sp>
        <p:nvSpPr>
          <p:cNvPr id="88" name="AutoShape 452">
            <a:extLst>
              <a:ext uri="{FF2B5EF4-FFF2-40B4-BE49-F238E27FC236}">
                <a16:creationId xmlns:a16="http://schemas.microsoft.com/office/drawing/2014/main" id="{0B2188C0-0149-4DC3-AF61-A04B2BB4779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508693" y="4320982"/>
            <a:ext cx="114300" cy="104775"/>
          </a:xfrm>
          <a:prstGeom prst="flowChartConnector">
            <a:avLst/>
          </a:prstGeom>
          <a:solidFill>
            <a:schemeClr val="bg1"/>
          </a:solidFill>
          <a:ln w="9525">
            <a:noFill/>
            <a:round/>
            <a:headEnd/>
            <a:tailEnd/>
          </a:ln>
          <a:effectLst>
            <a:prstShdw prst="shdw17" dist="17961" dir="2700000">
              <a:schemeClr val="bg1">
                <a:gamma/>
                <a:shade val="60000"/>
                <a:invGamma/>
              </a:schemeClr>
            </a:prstShdw>
          </a:effectLst>
        </p:spPr>
        <p:txBody>
          <a:bodyPr wrap="none" anchor="ctr"/>
          <a:lstStyle/>
          <a:p>
            <a:pPr>
              <a:defRPr/>
            </a:pPr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D34F76E-4449-43CF-B0D7-512B958C1B1A}"/>
              </a:ext>
            </a:extLst>
          </p:cNvPr>
          <p:cNvSpPr txBox="1"/>
          <p:nvPr/>
        </p:nvSpPr>
        <p:spPr>
          <a:xfrm>
            <a:off x="864973" y="1276865"/>
            <a:ext cx="10527957" cy="3970318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rovide a summary dashboard containing product wise, Office and Industry wise billed value of polici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t should only contain top 5 values for above dimensions. </a:t>
            </a:r>
            <a:endParaRPr lang="en-US" dirty="0">
              <a:ea typeface="Calibri"/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rovide KPIs for Distinct Client numbers, Policy Numbers, Total Billed premium, Distinct Insurers and distinct coverages on top of dashboard.</a:t>
            </a:r>
            <a:endParaRPr lang="en-US" dirty="0">
              <a:ea typeface="Calibri" panose="020F0502020204030204"/>
              <a:cs typeface="Calibri" panose="020F0502020204030204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rovide a drill-through report to get a view at account level AND policy level. </a:t>
            </a:r>
            <a:endParaRPr lang="en-US" dirty="0">
              <a:ea typeface="Calibri" panose="020F0502020204030204"/>
              <a:cs typeface="Calibri" panose="020F0502020204030204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dd client premium group to the drill-through detailed page at account level.</a:t>
            </a:r>
            <a:endParaRPr lang="en-US" dirty="0">
              <a:ea typeface="Calibri" panose="020F0502020204030204"/>
              <a:cs typeface="Calibri" panose="020F0502020204030204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Generate Unique IDs for Accounts and hide account nam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ea typeface="Calibri" panose="020F0502020204030204"/>
                <a:cs typeface="Calibri" panose="020F0502020204030204"/>
              </a:rPr>
              <a:t>Add Last </a:t>
            </a:r>
            <a:r>
              <a:rPr lang="en-US" dirty="0" err="1">
                <a:ea typeface="Calibri" panose="020F0502020204030204"/>
                <a:cs typeface="Calibri" panose="020F0502020204030204"/>
              </a:rPr>
              <a:t>RefreshTime</a:t>
            </a:r>
            <a:r>
              <a:rPr lang="en-US" dirty="0">
                <a:ea typeface="Calibri" panose="020F0502020204030204"/>
                <a:cs typeface="Calibri" panose="020F0502020204030204"/>
              </a:rPr>
              <a:t>  on the top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highlight>
                  <a:srgbClr val="FF0000"/>
                </a:highlight>
              </a:rPr>
              <a:t>Add slicers on detailed page and hide it and expand slicers when required using an arrow key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highlight>
                <a:srgbClr val="FF0000"/>
              </a:highlight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highlight>
                <a:srgbClr val="FF0000"/>
              </a:highlight>
              <a:ea typeface="Calibri" panose="020F0502020204030204"/>
              <a:cs typeface="Calibri" panose="020F0502020204030204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9197289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8758C4E-9B48-66EA-D46E-10B9EF1EDAF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TextBox 96">
            <a:extLst>
              <a:ext uri="{FF2B5EF4-FFF2-40B4-BE49-F238E27FC236}">
                <a16:creationId xmlns:a16="http://schemas.microsoft.com/office/drawing/2014/main" id="{10283E7D-0ECE-5138-B584-F4E7A9A0F9D7}"/>
              </a:ext>
            </a:extLst>
          </p:cNvPr>
          <p:cNvSpPr txBox="1"/>
          <p:nvPr/>
        </p:nvSpPr>
        <p:spPr>
          <a:xfrm>
            <a:off x="745168" y="625145"/>
            <a:ext cx="418465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2400" b="1">
                <a:solidFill>
                  <a:srgbClr val="1E9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ase Study 1 - Scope</a:t>
            </a:r>
            <a:endParaRPr lang="en-US" sz="2400" b="1">
              <a:solidFill>
                <a:srgbClr val="44546A">
                  <a:lumMod val="50000"/>
                </a:srgb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0816EB90-086F-4B30-B0FC-B575CF16EF3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56268" y="267114"/>
            <a:ext cx="1317605" cy="329631"/>
          </a:xfrm>
          <a:prstGeom prst="rect">
            <a:avLst/>
          </a:prstGeom>
        </p:spPr>
      </p:pic>
      <p:sp>
        <p:nvSpPr>
          <p:cNvPr id="48" name="Slide Number Placeholder 1">
            <a:extLst>
              <a:ext uri="{FF2B5EF4-FFF2-40B4-BE49-F238E27FC236}">
                <a16:creationId xmlns:a16="http://schemas.microsoft.com/office/drawing/2014/main" id="{1DD1DB26-F3E3-37D6-7386-3F9041D3EA3E}"/>
              </a:ext>
            </a:extLst>
          </p:cNvPr>
          <p:cNvSpPr txBox="1">
            <a:spLocks/>
          </p:cNvSpPr>
          <p:nvPr/>
        </p:nvSpPr>
        <p:spPr>
          <a:xfrm>
            <a:off x="11571334" y="6260808"/>
            <a:ext cx="464457" cy="365126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10B77E7-8D76-A248-9E9F-68FC055C9F4B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0F0F0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F0F0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57" name="Text Box 727">
            <a:extLst>
              <a:ext uri="{FF2B5EF4-FFF2-40B4-BE49-F238E27FC236}">
                <a16:creationId xmlns:a16="http://schemas.microsoft.com/office/drawing/2014/main" id="{D13AFF67-8B19-9E48-3D5E-4D269C76F82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826934" y="1738422"/>
            <a:ext cx="182880" cy="1828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endParaRPr lang="en-US" sz="800">
              <a:latin typeface="Calibri" pitchFamily="34" charset="0"/>
            </a:endParaRPr>
          </a:p>
        </p:txBody>
      </p:sp>
      <p:sp>
        <p:nvSpPr>
          <p:cNvPr id="88" name="AutoShape 452">
            <a:extLst>
              <a:ext uri="{FF2B5EF4-FFF2-40B4-BE49-F238E27FC236}">
                <a16:creationId xmlns:a16="http://schemas.microsoft.com/office/drawing/2014/main" id="{28381F67-BB12-36BF-61B2-BAC8927FC38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508693" y="4320982"/>
            <a:ext cx="114300" cy="104775"/>
          </a:xfrm>
          <a:prstGeom prst="flowChartConnector">
            <a:avLst/>
          </a:prstGeom>
          <a:solidFill>
            <a:schemeClr val="bg1"/>
          </a:solidFill>
          <a:ln w="9525">
            <a:noFill/>
            <a:round/>
            <a:headEnd/>
            <a:tailEnd/>
          </a:ln>
          <a:effectLst>
            <a:prstShdw prst="shdw17" dist="17961" dir="2700000">
              <a:schemeClr val="bg1">
                <a:gamma/>
                <a:shade val="60000"/>
                <a:invGamma/>
              </a:schemeClr>
            </a:prstShdw>
          </a:effectLst>
        </p:spPr>
        <p:txBody>
          <a:bodyPr wrap="none" anchor="ctr"/>
          <a:lstStyle/>
          <a:p>
            <a:pPr>
              <a:defRPr/>
            </a:pPr>
            <a:endParaRPr lang="en-US"/>
          </a:p>
        </p:txBody>
      </p:sp>
      <p:sp>
        <p:nvSpPr>
          <p:cNvPr id="5" name="Rectangle 3">
            <a:extLst>
              <a:ext uri="{FF2B5EF4-FFF2-40B4-BE49-F238E27FC236}">
                <a16:creationId xmlns:a16="http://schemas.microsoft.com/office/drawing/2014/main" id="{16EB1E9B-9863-AE60-0A4A-5E8E60E1A05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5168" y="1391161"/>
            <a:ext cx="10414445" cy="31710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R="0" lv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lang="en-IN" dirty="0"/>
              <a:t>Year-over-Year Premium Growth</a:t>
            </a:r>
          </a:p>
          <a:p>
            <a:pPr marL="742939" lvl="1" indent="-2857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altLang="en-US" dirty="0"/>
              <a:t>Create a YoY comparison card showing the total </a:t>
            </a:r>
            <a:r>
              <a:rPr lang="en-US" altLang="en-US" dirty="0" err="1"/>
              <a:t>Estimated_premium</a:t>
            </a:r>
            <a:r>
              <a:rPr lang="en-US" altLang="en-US" dirty="0"/>
              <a:t> this year vs. last year, 	along with the percentage growth. </a:t>
            </a:r>
          </a:p>
          <a:p>
            <a:pPr marL="742939" lvl="1" indent="-2857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GB" dirty="0"/>
              <a:t>Total Claims Paid – Current vs Previous Year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dirty="0"/>
          </a:p>
          <a:p>
            <a:pPr marR="0" lv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lang="en-US" altLang="en-US" dirty="0"/>
              <a:t>Active Policies Over Time</a:t>
            </a:r>
          </a:p>
          <a:p>
            <a:pPr marL="742939" lvl="1" indent="-2857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altLang="en-US" dirty="0"/>
              <a:t>Create a line chart/table  showing the count of active policies per month over the last two years.</a:t>
            </a:r>
            <a:br>
              <a:rPr lang="en-US" altLang="en-US" dirty="0"/>
            </a:br>
            <a:r>
              <a:rPr lang="en-US" altLang="en-US" dirty="0"/>
              <a:t>A policy is considered active if today falls between POLEFFDATE and </a:t>
            </a:r>
            <a:r>
              <a:rPr lang="en-US" altLang="en-US" dirty="0" err="1"/>
              <a:t>PolicyEnddate</a:t>
            </a:r>
            <a:endParaRPr lang="en-US" altLang="en-US" dirty="0"/>
          </a:p>
          <a:p>
            <a:pPr marL="285750" indent="-2857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US" altLang="en-US" dirty="0"/>
          </a:p>
          <a:p>
            <a:pPr marL="285750" marR="0" lvl="0" indent="-28575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endParaRPr lang="en-IN" dirty="0"/>
          </a:p>
          <a:p>
            <a:pPr marR="0" lv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lang="en-IN" altLang="en-US" dirty="0"/>
              <a:t>   </a:t>
            </a:r>
            <a:endParaRPr lang="en-US" altLang="en-US" dirty="0"/>
          </a:p>
        </p:txBody>
      </p:sp>
      <p:sp>
        <p:nvSpPr>
          <p:cNvPr id="9" name="Rectangle 7">
            <a:extLst>
              <a:ext uri="{FF2B5EF4-FFF2-40B4-BE49-F238E27FC236}">
                <a16:creationId xmlns:a16="http://schemas.microsoft.com/office/drawing/2014/main" id="{08C4C809-55BE-D920-4F2A-8667C04ED79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5168" y="4211431"/>
            <a:ext cx="11327027" cy="9150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R="0" lv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lang="en-US" altLang="en-US" dirty="0"/>
              <a:t>Active Policies Over Time</a:t>
            </a:r>
          </a:p>
          <a:p>
            <a:pPr marL="742939" lvl="1" indent="-2857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altLang="en-US" dirty="0"/>
              <a:t>Create a line chart showing the count of active policies per month over the last two years.</a:t>
            </a:r>
            <a:br>
              <a:rPr lang="en-US" altLang="en-US" dirty="0"/>
            </a:br>
            <a:r>
              <a:rPr lang="en-US" altLang="en-US" dirty="0"/>
              <a:t>A policy is considered active if today falls between POLEFFDATE and </a:t>
            </a:r>
            <a:r>
              <a:rPr lang="en-US" altLang="en-US" dirty="0" err="1"/>
              <a:t>PolicyEnddate</a:t>
            </a:r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38910916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TextBox 96">
            <a:extLst>
              <a:ext uri="{FF2B5EF4-FFF2-40B4-BE49-F238E27FC236}">
                <a16:creationId xmlns:a16="http://schemas.microsoft.com/office/drawing/2014/main" id="{3CA70410-F149-4B78-ABC4-F609697B60AF}"/>
              </a:ext>
            </a:extLst>
          </p:cNvPr>
          <p:cNvSpPr txBox="1"/>
          <p:nvPr/>
        </p:nvSpPr>
        <p:spPr>
          <a:xfrm>
            <a:off x="745168" y="625145"/>
            <a:ext cx="418465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2400" b="1">
                <a:solidFill>
                  <a:srgbClr val="1E9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ase Study – Screen Layout</a:t>
            </a:r>
            <a:endParaRPr lang="en-US" sz="2400" b="1">
              <a:solidFill>
                <a:srgbClr val="44546A">
                  <a:lumMod val="50000"/>
                </a:srgb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52382608-9B86-0249-A398-8DB84EECD65A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56268" y="267114"/>
            <a:ext cx="1317605" cy="329631"/>
          </a:xfrm>
          <a:prstGeom prst="rect">
            <a:avLst/>
          </a:prstGeom>
        </p:spPr>
      </p:pic>
      <p:sp>
        <p:nvSpPr>
          <p:cNvPr id="48" name="Slide Number Placeholder 1">
            <a:extLst>
              <a:ext uri="{FF2B5EF4-FFF2-40B4-BE49-F238E27FC236}">
                <a16:creationId xmlns:a16="http://schemas.microsoft.com/office/drawing/2014/main" id="{B1F8E3BA-096E-45F8-9A58-F0467489ABB9}"/>
              </a:ext>
            </a:extLst>
          </p:cNvPr>
          <p:cNvSpPr txBox="1">
            <a:spLocks/>
          </p:cNvSpPr>
          <p:nvPr/>
        </p:nvSpPr>
        <p:spPr>
          <a:xfrm>
            <a:off x="11571334" y="6260808"/>
            <a:ext cx="464457" cy="365126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10B77E7-8D76-A248-9E9F-68FC055C9F4B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0F0F0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F0F0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57" name="Text Box 727">
            <a:extLst>
              <a:ext uri="{FF2B5EF4-FFF2-40B4-BE49-F238E27FC236}">
                <a16:creationId xmlns:a16="http://schemas.microsoft.com/office/drawing/2014/main" id="{B05C677E-7B5A-4544-88B1-4684AFB02D2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826934" y="1738422"/>
            <a:ext cx="182880" cy="1828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endParaRPr lang="en-US" sz="800">
              <a:latin typeface="Calibri" pitchFamily="34" charset="0"/>
            </a:endParaRPr>
          </a:p>
        </p:txBody>
      </p:sp>
      <p:sp>
        <p:nvSpPr>
          <p:cNvPr id="88" name="AutoShape 452">
            <a:extLst>
              <a:ext uri="{FF2B5EF4-FFF2-40B4-BE49-F238E27FC236}">
                <a16:creationId xmlns:a16="http://schemas.microsoft.com/office/drawing/2014/main" id="{0B2188C0-0149-4DC3-AF61-A04B2BB4779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508693" y="4320982"/>
            <a:ext cx="114300" cy="104775"/>
          </a:xfrm>
          <a:prstGeom prst="flowChartConnector">
            <a:avLst/>
          </a:prstGeom>
          <a:solidFill>
            <a:schemeClr val="bg1"/>
          </a:solidFill>
          <a:ln w="9525">
            <a:noFill/>
            <a:round/>
            <a:headEnd/>
            <a:tailEnd/>
          </a:ln>
          <a:effectLst>
            <a:prstShdw prst="shdw17" dist="17961" dir="2700000">
              <a:schemeClr val="bg1">
                <a:gamma/>
                <a:shade val="60000"/>
                <a:invGamma/>
              </a:schemeClr>
            </a:prstShdw>
          </a:effectLst>
        </p:spPr>
        <p:txBody>
          <a:bodyPr wrap="none" anchor="ctr"/>
          <a:lstStyle/>
          <a:p>
            <a:pPr>
              <a:defRPr/>
            </a:pPr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E9A54D3-2B42-413D-8B8B-BF1C28DEA7B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2644" y="1205355"/>
            <a:ext cx="10548908" cy="5250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800008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TextBox 96">
            <a:extLst>
              <a:ext uri="{FF2B5EF4-FFF2-40B4-BE49-F238E27FC236}">
                <a16:creationId xmlns:a16="http://schemas.microsoft.com/office/drawing/2014/main" id="{3CA70410-F149-4B78-ABC4-F609697B60AF}"/>
              </a:ext>
            </a:extLst>
          </p:cNvPr>
          <p:cNvSpPr txBox="1"/>
          <p:nvPr/>
        </p:nvSpPr>
        <p:spPr>
          <a:xfrm>
            <a:off x="745168" y="625145"/>
            <a:ext cx="617461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2400" b="1">
                <a:solidFill>
                  <a:srgbClr val="1E9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ase Study – Drill Down Account</a:t>
            </a:r>
            <a:endParaRPr lang="en-US" sz="2400" b="1">
              <a:solidFill>
                <a:srgbClr val="44546A">
                  <a:lumMod val="50000"/>
                </a:srgb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52382608-9B86-0249-A398-8DB84EECD65A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56268" y="267114"/>
            <a:ext cx="1317605" cy="329631"/>
          </a:xfrm>
          <a:prstGeom prst="rect">
            <a:avLst/>
          </a:prstGeom>
        </p:spPr>
      </p:pic>
      <p:sp>
        <p:nvSpPr>
          <p:cNvPr id="48" name="Slide Number Placeholder 1">
            <a:extLst>
              <a:ext uri="{FF2B5EF4-FFF2-40B4-BE49-F238E27FC236}">
                <a16:creationId xmlns:a16="http://schemas.microsoft.com/office/drawing/2014/main" id="{B1F8E3BA-096E-45F8-9A58-F0467489ABB9}"/>
              </a:ext>
            </a:extLst>
          </p:cNvPr>
          <p:cNvSpPr txBox="1">
            <a:spLocks/>
          </p:cNvSpPr>
          <p:nvPr/>
        </p:nvSpPr>
        <p:spPr>
          <a:xfrm>
            <a:off x="11571334" y="6260808"/>
            <a:ext cx="464457" cy="365126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10B77E7-8D76-A248-9E9F-68FC055C9F4B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0F0F0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F0F0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57" name="Text Box 727">
            <a:extLst>
              <a:ext uri="{FF2B5EF4-FFF2-40B4-BE49-F238E27FC236}">
                <a16:creationId xmlns:a16="http://schemas.microsoft.com/office/drawing/2014/main" id="{B05C677E-7B5A-4544-88B1-4684AFB02D2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826934" y="1738422"/>
            <a:ext cx="182880" cy="1828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endParaRPr lang="en-US" sz="800">
              <a:latin typeface="Calibri" pitchFamily="34" charset="0"/>
            </a:endParaRPr>
          </a:p>
        </p:txBody>
      </p:sp>
      <p:sp>
        <p:nvSpPr>
          <p:cNvPr id="88" name="AutoShape 452">
            <a:extLst>
              <a:ext uri="{FF2B5EF4-FFF2-40B4-BE49-F238E27FC236}">
                <a16:creationId xmlns:a16="http://schemas.microsoft.com/office/drawing/2014/main" id="{0B2188C0-0149-4DC3-AF61-A04B2BB4779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508693" y="4320982"/>
            <a:ext cx="114300" cy="104775"/>
          </a:xfrm>
          <a:prstGeom prst="flowChartConnector">
            <a:avLst/>
          </a:prstGeom>
          <a:solidFill>
            <a:schemeClr val="bg1"/>
          </a:solidFill>
          <a:ln w="9525">
            <a:noFill/>
            <a:round/>
            <a:headEnd/>
            <a:tailEnd/>
          </a:ln>
          <a:effectLst>
            <a:prstShdw prst="shdw17" dist="17961" dir="2700000">
              <a:schemeClr val="bg1">
                <a:gamma/>
                <a:shade val="60000"/>
                <a:invGamma/>
              </a:schemeClr>
            </a:prstShdw>
          </a:effectLst>
        </p:spPr>
        <p:txBody>
          <a:bodyPr wrap="none" anchor="ctr"/>
          <a:lstStyle/>
          <a:p>
            <a:pPr>
              <a:defRPr/>
            </a:pPr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77CC732-0361-4363-B667-F96A03CE0F2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4108" y="750808"/>
            <a:ext cx="10775093" cy="47718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960728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TextBox 96">
            <a:extLst>
              <a:ext uri="{FF2B5EF4-FFF2-40B4-BE49-F238E27FC236}">
                <a16:creationId xmlns:a16="http://schemas.microsoft.com/office/drawing/2014/main" id="{3CA70410-F149-4B78-ABC4-F609697B60AF}"/>
              </a:ext>
            </a:extLst>
          </p:cNvPr>
          <p:cNvSpPr txBox="1"/>
          <p:nvPr/>
        </p:nvSpPr>
        <p:spPr>
          <a:xfrm>
            <a:off x="745168" y="625145"/>
            <a:ext cx="418465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2400" b="1">
                <a:solidFill>
                  <a:srgbClr val="1E9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ase Study 2 - Scope</a:t>
            </a:r>
            <a:endParaRPr lang="en-US" sz="2400" b="1">
              <a:solidFill>
                <a:srgbClr val="44546A">
                  <a:lumMod val="50000"/>
                </a:srgb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52382608-9B86-0249-A398-8DB84EECD65A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56268" y="267114"/>
            <a:ext cx="1317605" cy="329631"/>
          </a:xfrm>
          <a:prstGeom prst="rect">
            <a:avLst/>
          </a:prstGeom>
        </p:spPr>
      </p:pic>
      <p:sp>
        <p:nvSpPr>
          <p:cNvPr id="48" name="Slide Number Placeholder 1">
            <a:extLst>
              <a:ext uri="{FF2B5EF4-FFF2-40B4-BE49-F238E27FC236}">
                <a16:creationId xmlns:a16="http://schemas.microsoft.com/office/drawing/2014/main" id="{B1F8E3BA-096E-45F8-9A58-F0467489ABB9}"/>
              </a:ext>
            </a:extLst>
          </p:cNvPr>
          <p:cNvSpPr txBox="1">
            <a:spLocks/>
          </p:cNvSpPr>
          <p:nvPr/>
        </p:nvSpPr>
        <p:spPr>
          <a:xfrm>
            <a:off x="11571334" y="6260808"/>
            <a:ext cx="464457" cy="365126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10B77E7-8D76-A248-9E9F-68FC055C9F4B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0F0F0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F0F0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57" name="Text Box 727">
            <a:extLst>
              <a:ext uri="{FF2B5EF4-FFF2-40B4-BE49-F238E27FC236}">
                <a16:creationId xmlns:a16="http://schemas.microsoft.com/office/drawing/2014/main" id="{B05C677E-7B5A-4544-88B1-4684AFB02D2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826934" y="1738422"/>
            <a:ext cx="182880" cy="1828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endParaRPr lang="en-US" sz="800">
              <a:latin typeface="Calibri" pitchFamily="34" charset="0"/>
            </a:endParaRPr>
          </a:p>
        </p:txBody>
      </p:sp>
      <p:sp>
        <p:nvSpPr>
          <p:cNvPr id="88" name="AutoShape 452">
            <a:extLst>
              <a:ext uri="{FF2B5EF4-FFF2-40B4-BE49-F238E27FC236}">
                <a16:creationId xmlns:a16="http://schemas.microsoft.com/office/drawing/2014/main" id="{0B2188C0-0149-4DC3-AF61-A04B2BB4779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508693" y="4320982"/>
            <a:ext cx="114300" cy="104775"/>
          </a:xfrm>
          <a:prstGeom prst="flowChartConnector">
            <a:avLst/>
          </a:prstGeom>
          <a:solidFill>
            <a:schemeClr val="bg1"/>
          </a:solidFill>
          <a:ln w="9525">
            <a:noFill/>
            <a:round/>
            <a:headEnd/>
            <a:tailEnd/>
          </a:ln>
          <a:effectLst>
            <a:prstShdw prst="shdw17" dist="17961" dir="2700000">
              <a:schemeClr val="bg1">
                <a:gamma/>
                <a:shade val="60000"/>
                <a:invGamma/>
              </a:schemeClr>
            </a:prstShdw>
          </a:effectLst>
        </p:spPr>
        <p:txBody>
          <a:bodyPr wrap="none" anchor="ctr"/>
          <a:lstStyle/>
          <a:p>
            <a:pPr>
              <a:defRPr/>
            </a:pPr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D34F76E-4449-43CF-B0D7-512B958C1B1A}"/>
              </a:ext>
            </a:extLst>
          </p:cNvPr>
          <p:cNvSpPr txBox="1"/>
          <p:nvPr/>
        </p:nvSpPr>
        <p:spPr>
          <a:xfrm>
            <a:off x="832021" y="1248698"/>
            <a:ext cx="10593063" cy="511605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highlight>
                  <a:srgbClr val="FFFF00"/>
                </a:highlight>
              </a:rPr>
              <a:t>Calculate percentage of billed premium of client w.r.t </a:t>
            </a:r>
            <a:r>
              <a:rPr lang="en-US" u="sng" dirty="0">
                <a:highlight>
                  <a:srgbClr val="FFFF00"/>
                </a:highlight>
              </a:rPr>
              <a:t>Enterprise</a:t>
            </a:r>
            <a:r>
              <a:rPr lang="en-US" dirty="0">
                <a:highlight>
                  <a:srgbClr val="FFFF00"/>
                </a:highlight>
              </a:rPr>
              <a:t>, </a:t>
            </a:r>
            <a:r>
              <a:rPr lang="en-US" u="sng" dirty="0">
                <a:highlight>
                  <a:srgbClr val="FFFF00"/>
                </a:highlight>
              </a:rPr>
              <a:t>Product Group</a:t>
            </a:r>
            <a:r>
              <a:rPr lang="en-US" dirty="0">
                <a:highlight>
                  <a:srgbClr val="FFFF00"/>
                </a:highlight>
              </a:rPr>
              <a:t>, </a:t>
            </a:r>
            <a:r>
              <a:rPr lang="en-US" u="sng" dirty="0">
                <a:highlight>
                  <a:srgbClr val="FFFF00"/>
                </a:highlight>
              </a:rPr>
              <a:t>Product segment </a:t>
            </a:r>
            <a:r>
              <a:rPr lang="en-US" dirty="0">
                <a:highlight>
                  <a:srgbClr val="FFFF00"/>
                </a:highlight>
              </a:rPr>
              <a:t>and     </a:t>
            </a:r>
            <a:r>
              <a:rPr lang="en-US" u="sng" dirty="0">
                <a:highlight>
                  <a:srgbClr val="FFFF00"/>
                </a:highlight>
              </a:rPr>
              <a:t>Coverage description</a:t>
            </a:r>
            <a:r>
              <a:rPr lang="en-US" dirty="0">
                <a:highlight>
                  <a:srgbClr val="FFFF00"/>
                </a:highlight>
              </a:rPr>
              <a:t>.</a:t>
            </a:r>
            <a:endParaRPr lang="en-US" dirty="0">
              <a:highlight>
                <a:srgbClr val="FFFF00"/>
              </a:highlight>
              <a:ea typeface="Calibri"/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highlight>
                  <a:srgbClr val="FFFF00"/>
                </a:highlight>
              </a:rPr>
              <a:t>Calculate percentage of billed premium of client w.r.t a </a:t>
            </a:r>
            <a:r>
              <a:rPr lang="en-US" u="sng" dirty="0">
                <a:highlight>
                  <a:srgbClr val="FFFF00"/>
                </a:highlight>
              </a:rPr>
              <a:t>selected value of product group</a:t>
            </a:r>
            <a:r>
              <a:rPr lang="en-US" dirty="0">
                <a:highlight>
                  <a:srgbClr val="FFFF00"/>
                </a:highlight>
              </a:rPr>
              <a:t>.</a:t>
            </a:r>
            <a:endParaRPr lang="en-US" dirty="0">
              <a:highlight>
                <a:srgbClr val="FFFF00"/>
              </a:highlight>
              <a:ea typeface="Calibri"/>
              <a:cs typeface="Calibri"/>
            </a:endParaRPr>
          </a:p>
          <a:p>
            <a:endParaRPr lang="en-US" dirty="0">
              <a:highlight>
                <a:srgbClr val="FFFF00"/>
              </a:highlight>
              <a:ea typeface="Calibri"/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Use Year, Quarter or Month as Period selector and date slicer to select actual period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highlight>
                  <a:srgbClr val="FFFF00"/>
                </a:highlight>
              </a:rPr>
              <a:t>Find out Billed premium value of selected period Vs. billed premium of </a:t>
            </a:r>
            <a:r>
              <a:rPr lang="en-US" u="sng" dirty="0">
                <a:highlight>
                  <a:srgbClr val="FFFF00"/>
                </a:highlight>
              </a:rPr>
              <a:t>previous period</a:t>
            </a:r>
            <a:r>
              <a:rPr lang="en-US" dirty="0">
                <a:highlight>
                  <a:srgbClr val="FFFF00"/>
                </a:highlight>
              </a:rPr>
              <a:t>.</a:t>
            </a:r>
            <a:endParaRPr lang="en-US" dirty="0">
              <a:highlight>
                <a:srgbClr val="FFFF00"/>
              </a:highlight>
              <a:ea typeface="Calibri"/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highlight>
                  <a:srgbClr val="FFFF00"/>
                </a:highlight>
              </a:rPr>
              <a:t>Find out Billed premium value of selected period Vs. billed premium of </a:t>
            </a:r>
            <a:r>
              <a:rPr lang="en-US" u="sng" dirty="0">
                <a:highlight>
                  <a:srgbClr val="FFFF00"/>
                </a:highlight>
              </a:rPr>
              <a:t>same period last year</a:t>
            </a:r>
            <a:r>
              <a:rPr lang="en-US" dirty="0">
                <a:highlight>
                  <a:srgbClr val="FFFF00"/>
                </a:highlight>
              </a:rPr>
              <a:t>.</a:t>
            </a:r>
            <a:endParaRPr lang="en-US" dirty="0">
              <a:highlight>
                <a:srgbClr val="FFFF00"/>
              </a:highlight>
              <a:ea typeface="Calibri"/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highlight>
                  <a:srgbClr val="FFFF00"/>
                </a:highlight>
              </a:rPr>
              <a:t>Show the values in KPI form and compare with a UP or DOWN arrow mark to indicate increase or decrease.</a:t>
            </a:r>
            <a:endParaRPr lang="en-US" dirty="0">
              <a:highlight>
                <a:srgbClr val="FFFF00"/>
              </a:highlight>
              <a:ea typeface="Calibri"/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highlight>
                  <a:srgbClr val="FFFF00"/>
                </a:highlight>
              </a:rPr>
              <a:t>Find out expiring policy within 90 to 120 days  and display them.  Make it dynamic to change the date range. </a:t>
            </a:r>
            <a:endParaRPr lang="en-US" dirty="0">
              <a:highlight>
                <a:srgbClr val="FFFF00"/>
              </a:highlight>
              <a:ea typeface="Calibri"/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highlight>
                  <a:srgbClr val="FFFF00"/>
                </a:highlight>
              </a:rPr>
              <a:t>Display result of TOP N visualizations done i</a:t>
            </a:r>
            <a:r>
              <a:rPr lang="en-US" i="1" dirty="0">
                <a:highlight>
                  <a:srgbClr val="FFFF00"/>
                </a:highlight>
              </a:rPr>
              <a:t>n Case Study 1 dynamically based on user selection as Top 5, Top 10, Top 20 etc. </a:t>
            </a:r>
            <a:endParaRPr lang="en-US" i="1" dirty="0">
              <a:highlight>
                <a:srgbClr val="FFFF00"/>
              </a:highlight>
              <a:ea typeface="Calibri"/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i="1" dirty="0">
              <a:highlight>
                <a:srgbClr val="FFFF00"/>
              </a:highlight>
              <a:ea typeface="Calibri"/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i="1" dirty="0"/>
              <a:t>Provide a summary page to show No of policies renewed/added and expired in year, Quarter and Month view. Add Drill through report to view details of renewed/added policies or expired polici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i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i="1" dirty="0">
                <a:highlight>
                  <a:srgbClr val="FFFF00"/>
                </a:highlight>
              </a:rPr>
              <a:t>Find out premium for total active policies.</a:t>
            </a:r>
            <a:endParaRPr lang="en-IN" dirty="0">
              <a:highlight>
                <a:srgbClr val="FFFF00"/>
              </a:highlight>
              <a:ea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17321244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id="{C73D8D26-842E-A75C-D93A-DA90CC0E774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48" t="19928" r="9920" b="7814"/>
          <a:stretch/>
        </p:blipFill>
        <p:spPr bwMode="auto">
          <a:xfrm>
            <a:off x="446548" y="285137"/>
            <a:ext cx="11375373" cy="58501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603963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" name="Rectangle: Rounded Corners 126">
            <a:extLst>
              <a:ext uri="{FF2B5EF4-FFF2-40B4-BE49-F238E27FC236}">
                <a16:creationId xmlns:a16="http://schemas.microsoft.com/office/drawing/2014/main" id="{133325BF-EEA0-4DE7-85C2-38F3690D2906}"/>
              </a:ext>
            </a:extLst>
          </p:cNvPr>
          <p:cNvSpPr/>
          <p:nvPr/>
        </p:nvSpPr>
        <p:spPr>
          <a:xfrm>
            <a:off x="832053" y="1312252"/>
            <a:ext cx="1548000" cy="75731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351"/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52382608-9B86-0249-A398-8DB84EECD65A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56268" y="267114"/>
            <a:ext cx="1317605" cy="329631"/>
          </a:xfrm>
          <a:prstGeom prst="rect">
            <a:avLst/>
          </a:prstGeom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id="{D3430402-93E2-4586-A527-934DEE97EEC2}"/>
              </a:ext>
            </a:extLst>
          </p:cNvPr>
          <p:cNvSpPr txBox="1"/>
          <p:nvPr/>
        </p:nvSpPr>
        <p:spPr>
          <a:xfrm>
            <a:off x="1524003" y="1999801"/>
            <a:ext cx="9144000" cy="2763668"/>
          </a:xfrm>
          <a:prstGeom prst="rect">
            <a:avLst/>
          </a:prstGeom>
        </p:spPr>
        <p:txBody>
          <a:bodyPr vert="horz" lIns="45714" tIns="22857" rIns="45714" bIns="22857" rtlCol="0" anchor="ctr">
            <a:normAutofit/>
          </a:bodyPr>
          <a:lstStyle/>
          <a:p>
            <a:pPr algn="ctr" defTabSz="457109">
              <a:lnSpc>
                <a:spcPct val="90000"/>
              </a:lnSpc>
              <a:spcBef>
                <a:spcPct val="0"/>
              </a:spcBef>
              <a:spcAft>
                <a:spcPts val="300"/>
              </a:spcAft>
            </a:pPr>
            <a:r>
              <a:rPr lang="en-US" sz="7199" b="1" i="1">
                <a:latin typeface="+mj-lt"/>
                <a:ea typeface="+mj-ea"/>
                <a:cs typeface="+mj-cs"/>
              </a:rPr>
              <a:t>THANK YOU !</a:t>
            </a:r>
          </a:p>
        </p:txBody>
      </p:sp>
    </p:spTree>
    <p:extLst>
      <p:ext uri="{BB962C8B-B14F-4D97-AF65-F5344CB8AC3E}">
        <p14:creationId xmlns:p14="http://schemas.microsoft.com/office/powerpoint/2010/main" val="16890500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Blue Green 2">
      <a:dk1>
        <a:srgbClr val="0F0F0F"/>
      </a:dk1>
      <a:lt1>
        <a:srgbClr val="F7F7F7"/>
      </a:lt1>
      <a:dk2>
        <a:srgbClr val="44546A"/>
      </a:dk2>
      <a:lt2>
        <a:srgbClr val="E7E6E6"/>
      </a:lt2>
      <a:accent1>
        <a:srgbClr val="1E90C0"/>
      </a:accent1>
      <a:accent2>
        <a:srgbClr val="2C9AB1"/>
      </a:accent2>
      <a:accent3>
        <a:srgbClr val="55B87C"/>
      </a:accent3>
      <a:accent4>
        <a:srgbClr val="7AD849"/>
      </a:accent4>
      <a:accent5>
        <a:srgbClr val="9BDD3E"/>
      </a:accent5>
      <a:accent6>
        <a:srgbClr val="BEBDC4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Hortonworks Presentation Template">
  <a:themeElements>
    <a:clrScheme name="Custom 58">
      <a:dk1>
        <a:sysClr val="windowText" lastClr="000000"/>
      </a:dk1>
      <a:lt1>
        <a:srgbClr val="1E1E1E"/>
      </a:lt1>
      <a:dk2>
        <a:srgbClr val="FFFFFF"/>
      </a:dk2>
      <a:lt2>
        <a:srgbClr val="FFC61E"/>
      </a:lt2>
      <a:accent1>
        <a:srgbClr val="3FAE2A"/>
      </a:accent1>
      <a:accent2>
        <a:srgbClr val="3DB5E6"/>
      </a:accent2>
      <a:accent3>
        <a:srgbClr val="44697D"/>
      </a:accent3>
      <a:accent4>
        <a:srgbClr val="DAD9D6"/>
      </a:accent4>
      <a:accent5>
        <a:srgbClr val="3B8640"/>
      </a:accent5>
      <a:accent6>
        <a:srgbClr val="FF700A"/>
      </a:accent6>
      <a:hlink>
        <a:srgbClr val="FFFFFF"/>
      </a:hlink>
      <a:folHlink>
        <a:srgbClr val="FFFFF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>
          <a:solidFill>
            <a:schemeClr val="accent1"/>
          </a:solidFill>
        </a:ln>
        <a:effectLst/>
      </a:spPr>
      <a:bodyPr lIns="182880" tIns="182880" rIns="182880" bIns="182880" rtlCol="0" anchor="ctr" anchorCtr="0">
        <a:noAutofit/>
      </a:bodyPr>
      <a:lstStyle>
        <a:defPPr algn="ctr">
          <a:lnSpc>
            <a:spcPct val="85000"/>
          </a:lnSpc>
          <a:spcBef>
            <a:spcPts val="600"/>
          </a:spcBef>
          <a:defRPr sz="2800" dirty="0" err="1" smtClean="0">
            <a:solidFill>
              <a:schemeClr val="tx2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accent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wrap="none" lIns="0" tIns="0" rIns="0" bIns="0" rtlCol="0" anchor="ctr" anchorCtr="0">
        <a:spAutoFit/>
      </a:bodyPr>
      <a:lstStyle>
        <a:defPPr algn="ctr">
          <a:lnSpc>
            <a:spcPct val="85000"/>
          </a:lnSpc>
          <a:spcBef>
            <a:spcPts val="600"/>
          </a:spcBef>
          <a:defRPr sz="2800" dirty="0" err="1" smtClean="0"/>
        </a:defPPr>
      </a:lstStyle>
    </a:txDef>
  </a:objectDefaults>
  <a:extraClrSchemeLst/>
</a:theme>
</file>

<file path=ppt/theme/theme3.xml><?xml version="1.0" encoding="utf-8"?>
<a:theme xmlns:a="http://schemas.openxmlformats.org/drawingml/2006/main" name="1_Office Theme">
  <a:themeElements>
    <a:clrScheme name="i9_Storm">
      <a:dk1>
        <a:srgbClr val="57565A"/>
      </a:dk1>
      <a:lt1>
        <a:sysClr val="window" lastClr="FFFFFF"/>
      </a:lt1>
      <a:dk2>
        <a:srgbClr val="193441"/>
      </a:dk2>
      <a:lt2>
        <a:srgbClr val="2C4A58"/>
      </a:lt2>
      <a:accent1>
        <a:srgbClr val="97AEA0"/>
      </a:accent1>
      <a:accent2>
        <a:srgbClr val="7D9892"/>
      </a:accent2>
      <a:accent3>
        <a:srgbClr val="688687"/>
      </a:accent3>
      <a:accent4>
        <a:srgbClr val="53737B"/>
      </a:accent4>
      <a:accent5>
        <a:srgbClr val="496A75"/>
      </a:accent5>
      <a:accent6>
        <a:srgbClr val="3E606F"/>
      </a:accent6>
      <a:hlink>
        <a:srgbClr val="2F8299"/>
      </a:hlink>
      <a:folHlink>
        <a:srgbClr val="8C8C8C"/>
      </a:folHlink>
    </a:clrScheme>
    <a:fontScheme name="Custom 3">
      <a:majorFont>
        <a:latin typeface="Open Sans Light"/>
        <a:ea typeface=""/>
        <a:cs typeface=""/>
      </a:majorFont>
      <a:minorFont>
        <a:latin typeface="Open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4</TotalTime>
  <Words>480</Words>
  <Application>Microsoft Office PowerPoint</Application>
  <PresentationFormat>Widescreen</PresentationFormat>
  <Paragraphs>54</Paragraphs>
  <Slides>8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20" baseType="lpstr">
      <vt:lpstr>Arial</vt:lpstr>
      <vt:lpstr>Calibri</vt:lpstr>
      <vt:lpstr>Lucida Grande</vt:lpstr>
      <vt:lpstr>Open Sans</vt:lpstr>
      <vt:lpstr>Open Sans Light</vt:lpstr>
      <vt:lpstr>Wingdings</vt:lpstr>
      <vt:lpstr>Wingdings 2</vt:lpstr>
      <vt:lpstr>ヒラギノ角ゴ Pro W3</vt:lpstr>
      <vt:lpstr>Office Theme</vt:lpstr>
      <vt:lpstr>Hortonworks Presentation Template</vt:lpstr>
      <vt:lpstr>1_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aj Mohanty</dc:creator>
  <cp:lastModifiedBy>Pranab Kumar Thakur</cp:lastModifiedBy>
  <cp:revision>8</cp:revision>
  <dcterms:created xsi:type="dcterms:W3CDTF">2019-09-26T16:06:31Z</dcterms:created>
  <dcterms:modified xsi:type="dcterms:W3CDTF">2025-06-11T08:00:21Z</dcterms:modified>
</cp:coreProperties>
</file>